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8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1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2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3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5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6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7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8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19.xml" ContentType="application/vnd.openxmlformats-officedocument.theme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20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21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2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3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24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2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7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theme/theme3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71" r:id="rId3"/>
    <p:sldMasterId id="2147483688" r:id="rId4"/>
    <p:sldMasterId id="2147483694" r:id="rId5"/>
    <p:sldMasterId id="2147483705" r:id="rId6"/>
    <p:sldMasterId id="2147483716" r:id="rId7"/>
    <p:sldMasterId id="2147483740" r:id="rId8"/>
    <p:sldMasterId id="2147483752" r:id="rId9"/>
    <p:sldMasterId id="2147483759" r:id="rId10"/>
    <p:sldMasterId id="2147483770" r:id="rId11"/>
    <p:sldMasterId id="2147483781" r:id="rId12"/>
    <p:sldMasterId id="2147483792" r:id="rId13"/>
    <p:sldMasterId id="2147483804" r:id="rId14"/>
    <p:sldMasterId id="2147483812" r:id="rId15"/>
    <p:sldMasterId id="2147483823" r:id="rId16"/>
    <p:sldMasterId id="2147483834" r:id="rId17"/>
    <p:sldMasterId id="2147483845" r:id="rId18"/>
    <p:sldMasterId id="2147483857" r:id="rId19"/>
    <p:sldMasterId id="2147483869" r:id="rId20"/>
    <p:sldMasterId id="2147483881" r:id="rId21"/>
    <p:sldMasterId id="2147483893" r:id="rId22"/>
    <p:sldMasterId id="2147483905" r:id="rId23"/>
    <p:sldMasterId id="2147483917" r:id="rId24"/>
    <p:sldMasterId id="2147483928" r:id="rId25"/>
    <p:sldMasterId id="2147483936" r:id="rId26"/>
    <p:sldMasterId id="2147483944" r:id="rId27"/>
    <p:sldMasterId id="2147483951" r:id="rId28"/>
  </p:sldMasterIdLst>
  <p:notesMasterIdLst>
    <p:notesMasterId r:id="rId38"/>
  </p:notesMasterIdLst>
  <p:handoutMasterIdLst>
    <p:handoutMasterId r:id="rId39"/>
  </p:handoutMasterIdLst>
  <p:sldIdLst>
    <p:sldId id="263" r:id="rId29"/>
    <p:sldId id="434" r:id="rId30"/>
    <p:sldId id="433" r:id="rId31"/>
    <p:sldId id="431" r:id="rId32"/>
    <p:sldId id="437" r:id="rId33"/>
    <p:sldId id="438" r:id="rId34"/>
    <p:sldId id="436" r:id="rId35"/>
    <p:sldId id="439" r:id="rId36"/>
    <p:sldId id="429" r:id="rId37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20000"/>
      </a:spcAft>
      <a:buChar char="•"/>
      <a:defRPr sz="2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20000"/>
      </a:spcAft>
      <a:buChar char="•"/>
      <a:defRPr sz="2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20000"/>
      </a:spcAft>
      <a:buChar char="•"/>
      <a:defRPr sz="2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20000"/>
      </a:spcAft>
      <a:buChar char="•"/>
      <a:defRPr sz="2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20000"/>
      </a:spcAft>
      <a:buChar char="•"/>
      <a:defRPr sz="2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utor" initials="A" lastIdx="1" clrIdx="0"/>
  <p:cmAuthor id="1" name="Würtz Dr., Julia" initials="WDJ" lastIdx="45" clrIdx="1"/>
  <p:cmAuthor id="2" name="Brüser, Heike" initials="II D 34 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E2002D"/>
    <a:srgbClr val="E20030"/>
    <a:srgbClr val="E28630"/>
    <a:srgbClr val="828282"/>
    <a:srgbClr val="969696"/>
    <a:srgbClr val="AFAF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8" autoAdjust="0"/>
    <p:restoredTop sz="92390" autoAdjust="0"/>
  </p:normalViewPr>
  <p:slideViewPr>
    <p:cSldViewPr snapToGrid="0" showGuides="1">
      <p:cViewPr>
        <p:scale>
          <a:sx n="75" d="100"/>
          <a:sy n="75" d="100"/>
        </p:scale>
        <p:origin x="-1944" y="-720"/>
      </p:cViewPr>
      <p:guideLst>
        <p:guide orient="horz" pos="1582"/>
        <p:guide pos="769"/>
      </p:guideLst>
    </p:cSldViewPr>
  </p:slideViewPr>
  <p:outlineViewPr>
    <p:cViewPr>
      <p:scale>
        <a:sx n="33" d="100"/>
        <a:sy n="33" d="100"/>
      </p:scale>
      <p:origin x="48" y="4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6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5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1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8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3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9118C8-BD45-4793-A5DE-E8E42CE04897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6E781D8C-8922-4331-B36E-E870999E2CB8}">
      <dgm:prSet phldrT="[Text]"/>
      <dgm:spPr/>
      <dgm:t>
        <a:bodyPr/>
        <a:lstStyle/>
        <a:p>
          <a:endParaRPr lang="de-DE" dirty="0"/>
        </a:p>
      </dgm:t>
    </dgm:pt>
    <dgm:pt modelId="{05F5ACAC-86CF-43AA-974C-238F53B4085B}" type="parTrans" cxnId="{27413A58-F364-4AF4-8632-EA1F230F5AF8}">
      <dgm:prSet/>
      <dgm:spPr/>
      <dgm:t>
        <a:bodyPr/>
        <a:lstStyle/>
        <a:p>
          <a:endParaRPr lang="de-DE"/>
        </a:p>
      </dgm:t>
    </dgm:pt>
    <dgm:pt modelId="{6E90659F-0D86-4C4F-962B-D83B88C2F84B}" type="sibTrans" cxnId="{27413A58-F364-4AF4-8632-EA1F230F5AF8}">
      <dgm:prSet/>
      <dgm:spPr/>
      <dgm:t>
        <a:bodyPr/>
        <a:lstStyle/>
        <a:p>
          <a:endParaRPr lang="de-DE"/>
        </a:p>
      </dgm:t>
    </dgm:pt>
    <dgm:pt modelId="{B14256C0-84A5-412C-A93E-B1295FE171BA}">
      <dgm:prSet phldrT="[Text]" custT="1"/>
      <dgm:spPr/>
      <dgm:t>
        <a:bodyPr/>
        <a:lstStyle/>
        <a:p>
          <a:pPr algn="ctr"/>
          <a:r>
            <a:rPr lang="de-DE" sz="1400" b="1" u="sng" dirty="0" smtClean="0"/>
            <a:t>April - September 2018:</a:t>
          </a:r>
        </a:p>
        <a:p>
          <a:pPr algn="ctr"/>
          <a:r>
            <a:rPr lang="de-DE" sz="1400" dirty="0" smtClean="0"/>
            <a:t>Entwicklung eines Konzepts für einen neuen Eingliederungshilfeträger.</a:t>
          </a:r>
        </a:p>
        <a:p>
          <a:pPr algn="ctr"/>
          <a:endParaRPr lang="de-DE" sz="1400" dirty="0" smtClean="0"/>
        </a:p>
        <a:p>
          <a:pPr algn="ctr"/>
          <a:r>
            <a:rPr lang="de-DE" sz="1400" dirty="0" smtClean="0"/>
            <a:t>Derzeit in Abstimmung.</a:t>
          </a:r>
          <a:endParaRPr lang="de-DE" sz="1400" dirty="0"/>
        </a:p>
      </dgm:t>
    </dgm:pt>
    <dgm:pt modelId="{D403FCB1-3CDE-441E-81D6-793FC84A9320}" type="parTrans" cxnId="{19EE2750-A018-45FD-A871-D18E7D812795}">
      <dgm:prSet/>
      <dgm:spPr/>
      <dgm:t>
        <a:bodyPr/>
        <a:lstStyle/>
        <a:p>
          <a:endParaRPr lang="de-DE"/>
        </a:p>
      </dgm:t>
    </dgm:pt>
    <dgm:pt modelId="{98152460-F626-4FF2-8069-2FCC01548C42}" type="sibTrans" cxnId="{19EE2750-A018-45FD-A871-D18E7D812795}">
      <dgm:prSet/>
      <dgm:spPr/>
      <dgm:t>
        <a:bodyPr/>
        <a:lstStyle/>
        <a:p>
          <a:endParaRPr lang="de-DE"/>
        </a:p>
      </dgm:t>
    </dgm:pt>
    <dgm:pt modelId="{ADA2606B-2B76-4F09-849E-4CFBB631156F}">
      <dgm:prSet phldrT="[Text]"/>
      <dgm:spPr/>
      <dgm:t>
        <a:bodyPr/>
        <a:lstStyle/>
        <a:p>
          <a:endParaRPr lang="de-DE" dirty="0"/>
        </a:p>
      </dgm:t>
    </dgm:pt>
    <dgm:pt modelId="{AB3CA6A3-9A3D-405E-AA67-6AAFA282C8BC}" type="parTrans" cxnId="{F105C230-0FBD-47F8-8619-D41E06777957}">
      <dgm:prSet/>
      <dgm:spPr/>
      <dgm:t>
        <a:bodyPr/>
        <a:lstStyle/>
        <a:p>
          <a:endParaRPr lang="de-DE"/>
        </a:p>
      </dgm:t>
    </dgm:pt>
    <dgm:pt modelId="{DA1654FF-68CD-4AD5-B2A5-7A825533189B}" type="sibTrans" cxnId="{F105C230-0FBD-47F8-8619-D41E06777957}">
      <dgm:prSet/>
      <dgm:spPr/>
      <dgm:t>
        <a:bodyPr/>
        <a:lstStyle/>
        <a:p>
          <a:endParaRPr lang="de-DE"/>
        </a:p>
      </dgm:t>
    </dgm:pt>
    <dgm:pt modelId="{91DFE201-DEFD-4C20-AE6A-8C72E774A523}">
      <dgm:prSet phldrT="[Text]" custT="1"/>
      <dgm:spPr/>
      <dgm:t>
        <a:bodyPr/>
        <a:lstStyle/>
        <a:p>
          <a:r>
            <a:rPr lang="de-DE" sz="1400" b="1" u="sng" dirty="0" smtClean="0"/>
            <a:t>Ziel:  </a:t>
          </a:r>
        </a:p>
        <a:p>
          <a:r>
            <a:rPr lang="de-DE" sz="1400" dirty="0" smtClean="0"/>
            <a:t>Bis 2020 neuer Träger der Eingliederungshilfe</a:t>
          </a:r>
          <a:endParaRPr lang="de-DE" sz="1400" dirty="0"/>
        </a:p>
      </dgm:t>
    </dgm:pt>
    <dgm:pt modelId="{C952AF54-4093-479A-A167-356BBA9CB07F}" type="parTrans" cxnId="{1F4B9F17-3F78-4CBC-93D7-79C0C4460B63}">
      <dgm:prSet/>
      <dgm:spPr/>
      <dgm:t>
        <a:bodyPr/>
        <a:lstStyle/>
        <a:p>
          <a:endParaRPr lang="de-DE"/>
        </a:p>
      </dgm:t>
    </dgm:pt>
    <dgm:pt modelId="{E50C268C-F80E-46CD-A3BB-9A92A5B4335A}" type="sibTrans" cxnId="{1F4B9F17-3F78-4CBC-93D7-79C0C4460B63}">
      <dgm:prSet/>
      <dgm:spPr/>
      <dgm:t>
        <a:bodyPr/>
        <a:lstStyle/>
        <a:p>
          <a:endParaRPr lang="de-DE"/>
        </a:p>
      </dgm:t>
    </dgm:pt>
    <dgm:pt modelId="{E7946537-AD8A-4C7C-B2FE-73250D1278DF}">
      <dgm:prSet phldrT="[Text]"/>
      <dgm:spPr/>
      <dgm:t>
        <a:bodyPr/>
        <a:lstStyle/>
        <a:p>
          <a:endParaRPr lang="de-DE" dirty="0"/>
        </a:p>
      </dgm:t>
    </dgm:pt>
    <dgm:pt modelId="{A900AF44-12D2-46D7-89C5-B02B2054511E}" type="sibTrans" cxnId="{310C09D9-4C16-438A-92AB-B5422D0715CB}">
      <dgm:prSet/>
      <dgm:spPr/>
      <dgm:t>
        <a:bodyPr/>
        <a:lstStyle/>
        <a:p>
          <a:endParaRPr lang="de-DE"/>
        </a:p>
      </dgm:t>
    </dgm:pt>
    <dgm:pt modelId="{5D541A3B-7924-469F-94E6-77E35D0B6BC6}" type="parTrans" cxnId="{310C09D9-4C16-438A-92AB-B5422D0715CB}">
      <dgm:prSet/>
      <dgm:spPr/>
      <dgm:t>
        <a:bodyPr/>
        <a:lstStyle/>
        <a:p>
          <a:endParaRPr lang="de-DE"/>
        </a:p>
      </dgm:t>
    </dgm:pt>
    <dgm:pt modelId="{D9B2FDC0-4909-4988-9A2E-07749042977C}">
      <dgm:prSet custT="1"/>
      <dgm:spPr/>
      <dgm:t>
        <a:bodyPr/>
        <a:lstStyle/>
        <a:p>
          <a:pPr algn="ctr"/>
          <a:r>
            <a:rPr lang="de-DE" sz="1400" b="1" u="sng" dirty="0" smtClean="0"/>
            <a:t>Bis Ende 2019</a:t>
          </a:r>
        </a:p>
        <a:p>
          <a:pPr algn="ctr"/>
          <a:r>
            <a:rPr lang="de-DE" sz="1400" dirty="0" smtClean="0"/>
            <a:t>Land Berlin als Träger der Eingliederungshilfe</a:t>
          </a:r>
          <a:endParaRPr lang="de-DE" sz="1400" dirty="0"/>
        </a:p>
      </dgm:t>
    </dgm:pt>
    <dgm:pt modelId="{BE660869-16C4-4BA9-8D0C-E269F52FAD1A}" type="parTrans" cxnId="{348861D1-D0A6-4CD4-8746-9EF38231DD39}">
      <dgm:prSet/>
      <dgm:spPr/>
      <dgm:t>
        <a:bodyPr/>
        <a:lstStyle/>
        <a:p>
          <a:endParaRPr lang="de-DE"/>
        </a:p>
      </dgm:t>
    </dgm:pt>
    <dgm:pt modelId="{6B3A05E7-225A-48BF-9884-89BFE50A58A3}" type="sibTrans" cxnId="{348861D1-D0A6-4CD4-8746-9EF38231DD39}">
      <dgm:prSet/>
      <dgm:spPr/>
      <dgm:t>
        <a:bodyPr/>
        <a:lstStyle/>
        <a:p>
          <a:endParaRPr lang="de-DE"/>
        </a:p>
      </dgm:t>
    </dgm:pt>
    <dgm:pt modelId="{9359DCFE-EE2C-4D57-A467-0CB29646A190}" type="pres">
      <dgm:prSet presAssocID="{D59118C8-BD45-4793-A5DE-E8E42CE04897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de-DE"/>
        </a:p>
      </dgm:t>
    </dgm:pt>
    <dgm:pt modelId="{2683152C-B83F-4D1D-81E2-7F03648C6593}" type="pres">
      <dgm:prSet presAssocID="{D59118C8-BD45-4793-A5DE-E8E42CE04897}" presName="arrowNode" presStyleLbl="node1" presStyleIdx="0" presStyleCnt="1"/>
      <dgm:spPr/>
    </dgm:pt>
    <dgm:pt modelId="{D540171E-EE6B-4C14-872A-0420119E3BB4}" type="pres">
      <dgm:prSet presAssocID="{E7946537-AD8A-4C7C-B2FE-73250D1278DF}" presName="txNode1" presStyleLbl="revTx" presStyleIdx="0" presStyleCnt="6" custFlipVert="1" custScaleX="80037" custScaleY="13281" custLinFactNeighborX="2226" custLinFactNeighborY="-48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74CBB40-E8D7-4B54-9129-904E6C325AC9}" type="pres">
      <dgm:prSet presAssocID="{6E781D8C-8922-4331-B36E-E870999E2CB8}" presName="txNode2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CB7B6D9-852F-4B33-A2B6-6E5DC1709D81}" type="pres">
      <dgm:prSet presAssocID="{6E90659F-0D86-4C4F-962B-D83B88C2F84B}" presName="dotNode2" presStyleCnt="0"/>
      <dgm:spPr/>
    </dgm:pt>
    <dgm:pt modelId="{C78BA7DD-52DA-43B2-AAD0-6B5D4A0E1F25}" type="pres">
      <dgm:prSet presAssocID="{6E90659F-0D86-4C4F-962B-D83B88C2F84B}" presName="dotRepeatNode" presStyleLbl="fgShp" presStyleIdx="0" presStyleCnt="4"/>
      <dgm:spPr/>
      <dgm:t>
        <a:bodyPr/>
        <a:lstStyle/>
        <a:p>
          <a:endParaRPr lang="de-DE"/>
        </a:p>
      </dgm:t>
    </dgm:pt>
    <dgm:pt modelId="{4F5856C3-F97A-4855-9079-08101CD40B75}" type="pres">
      <dgm:prSet presAssocID="{D9B2FDC0-4909-4988-9A2E-07749042977C}" presName="txNode3" presStyleLbl="revTx" presStyleIdx="2" presStyleCnt="6" custScaleX="102013" custScaleY="162990" custLinFactNeighborX="-20605" custLinFactNeighborY="1310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BC7ADB-3D1E-4DBA-96A8-28A515E481D0}" type="pres">
      <dgm:prSet presAssocID="{6B3A05E7-225A-48BF-9884-89BFE50A58A3}" presName="dotNode3" presStyleCnt="0"/>
      <dgm:spPr/>
    </dgm:pt>
    <dgm:pt modelId="{D18C7D64-E904-4F7F-86AA-1F11A5566D6D}" type="pres">
      <dgm:prSet presAssocID="{6B3A05E7-225A-48BF-9884-89BFE50A58A3}" presName="dotRepeatNode" presStyleLbl="fgShp" presStyleIdx="1" presStyleCnt="4"/>
      <dgm:spPr/>
      <dgm:t>
        <a:bodyPr/>
        <a:lstStyle/>
        <a:p>
          <a:endParaRPr lang="de-DE"/>
        </a:p>
      </dgm:t>
    </dgm:pt>
    <dgm:pt modelId="{408AD851-BA39-4325-B1C4-DA012B921B24}" type="pres">
      <dgm:prSet presAssocID="{B14256C0-84A5-412C-A93E-B1295FE171BA}" presName="txNode4" presStyleLbl="revTx" presStyleIdx="3" presStyleCnt="6" custScaleX="133943" custScaleY="198025" custLinFactNeighborX="26401" custLinFactNeighborY="-1474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EB86B2A-D75F-4D6A-BB41-A3DAE002BBA1}" type="pres">
      <dgm:prSet presAssocID="{98152460-F626-4FF2-8069-2FCC01548C42}" presName="dotNode4" presStyleCnt="0"/>
      <dgm:spPr/>
    </dgm:pt>
    <dgm:pt modelId="{9E60DADE-576F-4C33-90B5-FF1973AC3C1F}" type="pres">
      <dgm:prSet presAssocID="{98152460-F626-4FF2-8069-2FCC01548C42}" presName="dotRepeatNode" presStyleLbl="fgShp" presStyleIdx="2" presStyleCnt="4"/>
      <dgm:spPr/>
      <dgm:t>
        <a:bodyPr/>
        <a:lstStyle/>
        <a:p>
          <a:endParaRPr lang="de-DE"/>
        </a:p>
      </dgm:t>
    </dgm:pt>
    <dgm:pt modelId="{E8DECE4E-94C4-433E-83EF-E06BC499F51D}" type="pres">
      <dgm:prSet presAssocID="{ADA2606B-2B76-4F09-849E-4CFBB631156F}" presName="txNode5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430A630-8A51-4503-9BE9-3D08D474D63F}" type="pres">
      <dgm:prSet presAssocID="{DA1654FF-68CD-4AD5-B2A5-7A825533189B}" presName="dotNode5" presStyleCnt="0"/>
      <dgm:spPr/>
    </dgm:pt>
    <dgm:pt modelId="{B35E8B86-CB15-47FB-9251-A96FF4EB0ECD}" type="pres">
      <dgm:prSet presAssocID="{DA1654FF-68CD-4AD5-B2A5-7A825533189B}" presName="dotRepeatNode" presStyleLbl="fgShp" presStyleIdx="3" presStyleCnt="4"/>
      <dgm:spPr/>
      <dgm:t>
        <a:bodyPr/>
        <a:lstStyle/>
        <a:p>
          <a:endParaRPr lang="de-DE"/>
        </a:p>
      </dgm:t>
    </dgm:pt>
    <dgm:pt modelId="{D5241466-F4A9-49BE-93A9-278BC11F7833}" type="pres">
      <dgm:prSet presAssocID="{91DFE201-DEFD-4C20-AE6A-8C72E774A523}" presName="txNode6" presStyleLbl="revTx" presStyleIdx="5" presStyleCnt="6" custLinFactNeighborX="21443" custLinFactNeighborY="-1474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7413A58-F364-4AF4-8632-EA1F230F5AF8}" srcId="{D59118C8-BD45-4793-A5DE-E8E42CE04897}" destId="{6E781D8C-8922-4331-B36E-E870999E2CB8}" srcOrd="1" destOrd="0" parTransId="{05F5ACAC-86CF-43AA-974C-238F53B4085B}" sibTransId="{6E90659F-0D86-4C4F-962B-D83B88C2F84B}"/>
    <dgm:cxn modelId="{120AEE77-12D5-4822-B955-71CAEAFF499D}" type="presOf" srcId="{ADA2606B-2B76-4F09-849E-4CFBB631156F}" destId="{E8DECE4E-94C4-433E-83EF-E06BC499F51D}" srcOrd="0" destOrd="0" presId="urn:microsoft.com/office/officeart/2009/3/layout/DescendingProcess"/>
    <dgm:cxn modelId="{348861D1-D0A6-4CD4-8746-9EF38231DD39}" srcId="{D59118C8-BD45-4793-A5DE-E8E42CE04897}" destId="{D9B2FDC0-4909-4988-9A2E-07749042977C}" srcOrd="2" destOrd="0" parTransId="{BE660869-16C4-4BA9-8D0C-E269F52FAD1A}" sibTransId="{6B3A05E7-225A-48BF-9884-89BFE50A58A3}"/>
    <dgm:cxn modelId="{1F4B9F17-3F78-4CBC-93D7-79C0C4460B63}" srcId="{D59118C8-BD45-4793-A5DE-E8E42CE04897}" destId="{91DFE201-DEFD-4C20-AE6A-8C72E774A523}" srcOrd="5" destOrd="0" parTransId="{C952AF54-4093-479A-A167-356BBA9CB07F}" sibTransId="{E50C268C-F80E-46CD-A3BB-9A92A5B4335A}"/>
    <dgm:cxn modelId="{9ECE70FA-6BD2-4314-B337-4922B50B38D7}" type="presOf" srcId="{98152460-F626-4FF2-8069-2FCC01548C42}" destId="{9E60DADE-576F-4C33-90B5-FF1973AC3C1F}" srcOrd="0" destOrd="0" presId="urn:microsoft.com/office/officeart/2009/3/layout/DescendingProcess"/>
    <dgm:cxn modelId="{C332239F-20D0-43FA-8B5C-FC49E0416081}" type="presOf" srcId="{6E781D8C-8922-4331-B36E-E870999E2CB8}" destId="{474CBB40-E8D7-4B54-9129-904E6C325AC9}" srcOrd="0" destOrd="0" presId="urn:microsoft.com/office/officeart/2009/3/layout/DescendingProcess"/>
    <dgm:cxn modelId="{19EE2750-A018-45FD-A871-D18E7D812795}" srcId="{D59118C8-BD45-4793-A5DE-E8E42CE04897}" destId="{B14256C0-84A5-412C-A93E-B1295FE171BA}" srcOrd="3" destOrd="0" parTransId="{D403FCB1-3CDE-441E-81D6-793FC84A9320}" sibTransId="{98152460-F626-4FF2-8069-2FCC01548C42}"/>
    <dgm:cxn modelId="{7E345180-ECF0-4E93-AA28-902959D07031}" type="presOf" srcId="{E7946537-AD8A-4C7C-B2FE-73250D1278DF}" destId="{D540171E-EE6B-4C14-872A-0420119E3BB4}" srcOrd="0" destOrd="0" presId="urn:microsoft.com/office/officeart/2009/3/layout/DescendingProcess"/>
    <dgm:cxn modelId="{310C09D9-4C16-438A-92AB-B5422D0715CB}" srcId="{D59118C8-BD45-4793-A5DE-E8E42CE04897}" destId="{E7946537-AD8A-4C7C-B2FE-73250D1278DF}" srcOrd="0" destOrd="0" parTransId="{5D541A3B-7924-469F-94E6-77E35D0B6BC6}" sibTransId="{A900AF44-12D2-46D7-89C5-B02B2054511E}"/>
    <dgm:cxn modelId="{D6DB8058-A649-41DD-A06F-A28F0DEDC89E}" type="presOf" srcId="{DA1654FF-68CD-4AD5-B2A5-7A825533189B}" destId="{B35E8B86-CB15-47FB-9251-A96FF4EB0ECD}" srcOrd="0" destOrd="0" presId="urn:microsoft.com/office/officeart/2009/3/layout/DescendingProcess"/>
    <dgm:cxn modelId="{38224CC0-1A86-49A4-B7F3-5235942DD740}" type="presOf" srcId="{91DFE201-DEFD-4C20-AE6A-8C72E774A523}" destId="{D5241466-F4A9-49BE-93A9-278BC11F7833}" srcOrd="0" destOrd="0" presId="urn:microsoft.com/office/officeart/2009/3/layout/DescendingProcess"/>
    <dgm:cxn modelId="{F105C230-0FBD-47F8-8619-D41E06777957}" srcId="{D59118C8-BD45-4793-A5DE-E8E42CE04897}" destId="{ADA2606B-2B76-4F09-849E-4CFBB631156F}" srcOrd="4" destOrd="0" parTransId="{AB3CA6A3-9A3D-405E-AA67-6AAFA282C8BC}" sibTransId="{DA1654FF-68CD-4AD5-B2A5-7A825533189B}"/>
    <dgm:cxn modelId="{D4D5E251-DA4E-49A2-A75A-269295252DD4}" type="presOf" srcId="{D59118C8-BD45-4793-A5DE-E8E42CE04897}" destId="{9359DCFE-EE2C-4D57-A467-0CB29646A190}" srcOrd="0" destOrd="0" presId="urn:microsoft.com/office/officeart/2009/3/layout/DescendingProcess"/>
    <dgm:cxn modelId="{96B87020-C7DB-4321-907C-05D14FDF9F41}" type="presOf" srcId="{D9B2FDC0-4909-4988-9A2E-07749042977C}" destId="{4F5856C3-F97A-4855-9079-08101CD40B75}" srcOrd="0" destOrd="0" presId="urn:microsoft.com/office/officeart/2009/3/layout/DescendingProcess"/>
    <dgm:cxn modelId="{6FE038DE-6896-4A28-9021-75DA10921C88}" type="presOf" srcId="{B14256C0-84A5-412C-A93E-B1295FE171BA}" destId="{408AD851-BA39-4325-B1C4-DA012B921B24}" srcOrd="0" destOrd="0" presId="urn:microsoft.com/office/officeart/2009/3/layout/DescendingProcess"/>
    <dgm:cxn modelId="{9F800298-AF39-474A-B4CE-95B3095EB8BA}" type="presOf" srcId="{6B3A05E7-225A-48BF-9884-89BFE50A58A3}" destId="{D18C7D64-E904-4F7F-86AA-1F11A5566D6D}" srcOrd="0" destOrd="0" presId="urn:microsoft.com/office/officeart/2009/3/layout/DescendingProcess"/>
    <dgm:cxn modelId="{1BFF4ACA-DC4A-4B0A-9017-FBB2314ECB2D}" type="presOf" srcId="{6E90659F-0D86-4C4F-962B-D83B88C2F84B}" destId="{C78BA7DD-52DA-43B2-AAD0-6B5D4A0E1F25}" srcOrd="0" destOrd="0" presId="urn:microsoft.com/office/officeart/2009/3/layout/DescendingProcess"/>
    <dgm:cxn modelId="{1E0DA2FF-C956-404E-9334-722997B51101}" type="presParOf" srcId="{9359DCFE-EE2C-4D57-A467-0CB29646A190}" destId="{2683152C-B83F-4D1D-81E2-7F03648C6593}" srcOrd="0" destOrd="0" presId="urn:microsoft.com/office/officeart/2009/3/layout/DescendingProcess"/>
    <dgm:cxn modelId="{E1E93058-2949-47E0-949B-71406E854B0D}" type="presParOf" srcId="{9359DCFE-EE2C-4D57-A467-0CB29646A190}" destId="{D540171E-EE6B-4C14-872A-0420119E3BB4}" srcOrd="1" destOrd="0" presId="urn:microsoft.com/office/officeart/2009/3/layout/DescendingProcess"/>
    <dgm:cxn modelId="{E1DB74D7-CEE9-4F00-A70B-E16A375A6ABC}" type="presParOf" srcId="{9359DCFE-EE2C-4D57-A467-0CB29646A190}" destId="{474CBB40-E8D7-4B54-9129-904E6C325AC9}" srcOrd="2" destOrd="0" presId="urn:microsoft.com/office/officeart/2009/3/layout/DescendingProcess"/>
    <dgm:cxn modelId="{A886CBF4-A2A4-4C7D-AAD5-E4F9D6032E7A}" type="presParOf" srcId="{9359DCFE-EE2C-4D57-A467-0CB29646A190}" destId="{9CB7B6D9-852F-4B33-A2B6-6E5DC1709D81}" srcOrd="3" destOrd="0" presId="urn:microsoft.com/office/officeart/2009/3/layout/DescendingProcess"/>
    <dgm:cxn modelId="{DF4AD883-D4CD-4281-90C2-BACC9EA6C573}" type="presParOf" srcId="{9CB7B6D9-852F-4B33-A2B6-6E5DC1709D81}" destId="{C78BA7DD-52DA-43B2-AAD0-6B5D4A0E1F25}" srcOrd="0" destOrd="0" presId="urn:microsoft.com/office/officeart/2009/3/layout/DescendingProcess"/>
    <dgm:cxn modelId="{79EB07F8-7C83-45CC-AECA-64AFE0A5BBED}" type="presParOf" srcId="{9359DCFE-EE2C-4D57-A467-0CB29646A190}" destId="{4F5856C3-F97A-4855-9079-08101CD40B75}" srcOrd="4" destOrd="0" presId="urn:microsoft.com/office/officeart/2009/3/layout/DescendingProcess"/>
    <dgm:cxn modelId="{6048FC70-B66F-4C5B-8C20-9FF2740D3532}" type="presParOf" srcId="{9359DCFE-EE2C-4D57-A467-0CB29646A190}" destId="{8BBC7ADB-3D1E-4DBA-96A8-28A515E481D0}" srcOrd="5" destOrd="0" presId="urn:microsoft.com/office/officeart/2009/3/layout/DescendingProcess"/>
    <dgm:cxn modelId="{9A49C456-43BF-4FD1-A0DB-7988238E5921}" type="presParOf" srcId="{8BBC7ADB-3D1E-4DBA-96A8-28A515E481D0}" destId="{D18C7D64-E904-4F7F-86AA-1F11A5566D6D}" srcOrd="0" destOrd="0" presId="urn:microsoft.com/office/officeart/2009/3/layout/DescendingProcess"/>
    <dgm:cxn modelId="{230E31EB-B86E-4758-8A07-4F85415ABDC9}" type="presParOf" srcId="{9359DCFE-EE2C-4D57-A467-0CB29646A190}" destId="{408AD851-BA39-4325-B1C4-DA012B921B24}" srcOrd="6" destOrd="0" presId="urn:microsoft.com/office/officeart/2009/3/layout/DescendingProcess"/>
    <dgm:cxn modelId="{05C928F3-76CF-429B-BE84-F074197E3222}" type="presParOf" srcId="{9359DCFE-EE2C-4D57-A467-0CB29646A190}" destId="{8EB86B2A-D75F-4D6A-BB41-A3DAE002BBA1}" srcOrd="7" destOrd="0" presId="urn:microsoft.com/office/officeart/2009/3/layout/DescendingProcess"/>
    <dgm:cxn modelId="{BE383477-C7A9-46C3-AC7B-30CD47BA861E}" type="presParOf" srcId="{8EB86B2A-D75F-4D6A-BB41-A3DAE002BBA1}" destId="{9E60DADE-576F-4C33-90B5-FF1973AC3C1F}" srcOrd="0" destOrd="0" presId="urn:microsoft.com/office/officeart/2009/3/layout/DescendingProcess"/>
    <dgm:cxn modelId="{C133B24C-3133-4186-ADE2-63E2C4D705FF}" type="presParOf" srcId="{9359DCFE-EE2C-4D57-A467-0CB29646A190}" destId="{E8DECE4E-94C4-433E-83EF-E06BC499F51D}" srcOrd="8" destOrd="0" presId="urn:microsoft.com/office/officeart/2009/3/layout/DescendingProcess"/>
    <dgm:cxn modelId="{0EFCCC27-5891-41DA-87DB-DAC6435A5D3A}" type="presParOf" srcId="{9359DCFE-EE2C-4D57-A467-0CB29646A190}" destId="{1430A630-8A51-4503-9BE9-3D08D474D63F}" srcOrd="9" destOrd="0" presId="urn:microsoft.com/office/officeart/2009/3/layout/DescendingProcess"/>
    <dgm:cxn modelId="{2991A563-C429-45EC-98A5-FDCCED161086}" type="presParOf" srcId="{1430A630-8A51-4503-9BE9-3D08D474D63F}" destId="{B35E8B86-CB15-47FB-9251-A96FF4EB0ECD}" srcOrd="0" destOrd="0" presId="urn:microsoft.com/office/officeart/2009/3/layout/DescendingProcess"/>
    <dgm:cxn modelId="{81CE0FFC-A719-49C8-AC12-0A5EA4204515}" type="presParOf" srcId="{9359DCFE-EE2C-4D57-A467-0CB29646A190}" destId="{D5241466-F4A9-49BE-93A9-278BC11F7833}" srcOrd="10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9118C8-BD45-4793-A5DE-E8E42CE04897}" type="doc">
      <dgm:prSet loTypeId="urn:microsoft.com/office/officeart/2009/3/layout/Descending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6E781D8C-8922-4331-B36E-E870999E2CB8}">
      <dgm:prSet phldrT="[Text]"/>
      <dgm:spPr/>
      <dgm:t>
        <a:bodyPr/>
        <a:lstStyle/>
        <a:p>
          <a:endParaRPr lang="de-DE" dirty="0"/>
        </a:p>
      </dgm:t>
    </dgm:pt>
    <dgm:pt modelId="{05F5ACAC-86CF-43AA-974C-238F53B4085B}" type="parTrans" cxnId="{27413A58-F364-4AF4-8632-EA1F230F5AF8}">
      <dgm:prSet/>
      <dgm:spPr/>
      <dgm:t>
        <a:bodyPr/>
        <a:lstStyle/>
        <a:p>
          <a:endParaRPr lang="de-DE"/>
        </a:p>
      </dgm:t>
    </dgm:pt>
    <dgm:pt modelId="{6E90659F-0D86-4C4F-962B-D83B88C2F84B}" type="sibTrans" cxnId="{27413A58-F364-4AF4-8632-EA1F230F5AF8}">
      <dgm:prSet/>
      <dgm:spPr/>
      <dgm:t>
        <a:bodyPr/>
        <a:lstStyle/>
        <a:p>
          <a:endParaRPr lang="de-DE"/>
        </a:p>
      </dgm:t>
    </dgm:pt>
    <dgm:pt modelId="{B14256C0-84A5-412C-A93E-B1295FE171BA}">
      <dgm:prSet phldrT="[Text]" custT="1"/>
      <dgm:spPr/>
      <dgm:t>
        <a:bodyPr/>
        <a:lstStyle/>
        <a:p>
          <a:pPr algn="ctr"/>
          <a:r>
            <a:rPr lang="de-DE" sz="1400" b="1" u="sng" dirty="0" smtClean="0"/>
            <a:t>Juli /  August 2018:</a:t>
          </a:r>
        </a:p>
        <a:p>
          <a:pPr algn="ctr"/>
          <a:r>
            <a:rPr lang="de-DE" sz="1400" dirty="0" smtClean="0"/>
            <a:t>Beschluss und Aufforderung zu RV-Verhandlungen gemäß § 131 Abs. 4 SGB IX durch Berliner Senat</a:t>
          </a:r>
          <a:endParaRPr lang="de-DE" sz="1400" dirty="0"/>
        </a:p>
      </dgm:t>
    </dgm:pt>
    <dgm:pt modelId="{D403FCB1-3CDE-441E-81D6-793FC84A9320}" type="parTrans" cxnId="{19EE2750-A018-45FD-A871-D18E7D812795}">
      <dgm:prSet/>
      <dgm:spPr/>
      <dgm:t>
        <a:bodyPr/>
        <a:lstStyle/>
        <a:p>
          <a:endParaRPr lang="de-DE"/>
        </a:p>
      </dgm:t>
    </dgm:pt>
    <dgm:pt modelId="{98152460-F626-4FF2-8069-2FCC01548C42}" type="sibTrans" cxnId="{19EE2750-A018-45FD-A871-D18E7D812795}">
      <dgm:prSet/>
      <dgm:spPr/>
      <dgm:t>
        <a:bodyPr/>
        <a:lstStyle/>
        <a:p>
          <a:endParaRPr lang="de-DE"/>
        </a:p>
      </dgm:t>
    </dgm:pt>
    <dgm:pt modelId="{ADA2606B-2B76-4F09-849E-4CFBB631156F}">
      <dgm:prSet phldrT="[Text]"/>
      <dgm:spPr/>
      <dgm:t>
        <a:bodyPr/>
        <a:lstStyle/>
        <a:p>
          <a:endParaRPr lang="de-DE" dirty="0"/>
        </a:p>
      </dgm:t>
    </dgm:pt>
    <dgm:pt modelId="{AB3CA6A3-9A3D-405E-AA67-6AAFA282C8BC}" type="parTrans" cxnId="{F105C230-0FBD-47F8-8619-D41E06777957}">
      <dgm:prSet/>
      <dgm:spPr/>
      <dgm:t>
        <a:bodyPr/>
        <a:lstStyle/>
        <a:p>
          <a:endParaRPr lang="de-DE"/>
        </a:p>
      </dgm:t>
    </dgm:pt>
    <dgm:pt modelId="{DA1654FF-68CD-4AD5-B2A5-7A825533189B}" type="sibTrans" cxnId="{F105C230-0FBD-47F8-8619-D41E06777957}">
      <dgm:prSet/>
      <dgm:spPr/>
      <dgm:t>
        <a:bodyPr/>
        <a:lstStyle/>
        <a:p>
          <a:endParaRPr lang="de-DE"/>
        </a:p>
      </dgm:t>
    </dgm:pt>
    <dgm:pt modelId="{91DFE201-DEFD-4C20-AE6A-8C72E774A523}">
      <dgm:prSet phldrT="[Text]" custT="1"/>
      <dgm:spPr/>
      <dgm:t>
        <a:bodyPr/>
        <a:lstStyle/>
        <a:p>
          <a:r>
            <a:rPr lang="de-DE" sz="1400" b="1" u="sng" dirty="0" smtClean="0"/>
            <a:t>Ziel:  </a:t>
          </a:r>
        </a:p>
        <a:p>
          <a:r>
            <a:rPr lang="de-DE" sz="1400" dirty="0" smtClean="0"/>
            <a:t>Bis erstes Quartal 2019 Abschluss des neuen BRV</a:t>
          </a:r>
          <a:endParaRPr lang="de-DE" sz="1400" dirty="0"/>
        </a:p>
      </dgm:t>
    </dgm:pt>
    <dgm:pt modelId="{C952AF54-4093-479A-A167-356BBA9CB07F}" type="parTrans" cxnId="{1F4B9F17-3F78-4CBC-93D7-79C0C4460B63}">
      <dgm:prSet/>
      <dgm:spPr/>
      <dgm:t>
        <a:bodyPr/>
        <a:lstStyle/>
        <a:p>
          <a:endParaRPr lang="de-DE"/>
        </a:p>
      </dgm:t>
    </dgm:pt>
    <dgm:pt modelId="{E50C268C-F80E-46CD-A3BB-9A92A5B4335A}" type="sibTrans" cxnId="{1F4B9F17-3F78-4CBC-93D7-79C0C4460B63}">
      <dgm:prSet/>
      <dgm:spPr/>
      <dgm:t>
        <a:bodyPr/>
        <a:lstStyle/>
        <a:p>
          <a:endParaRPr lang="de-DE"/>
        </a:p>
      </dgm:t>
    </dgm:pt>
    <dgm:pt modelId="{E7946537-AD8A-4C7C-B2FE-73250D1278DF}">
      <dgm:prSet phldrT="[Text]"/>
      <dgm:spPr/>
      <dgm:t>
        <a:bodyPr/>
        <a:lstStyle/>
        <a:p>
          <a:endParaRPr lang="de-DE" dirty="0"/>
        </a:p>
      </dgm:t>
    </dgm:pt>
    <dgm:pt modelId="{A900AF44-12D2-46D7-89C5-B02B2054511E}" type="sibTrans" cxnId="{310C09D9-4C16-438A-92AB-B5422D0715CB}">
      <dgm:prSet/>
      <dgm:spPr/>
      <dgm:t>
        <a:bodyPr/>
        <a:lstStyle/>
        <a:p>
          <a:endParaRPr lang="de-DE"/>
        </a:p>
      </dgm:t>
    </dgm:pt>
    <dgm:pt modelId="{5D541A3B-7924-469F-94E6-77E35D0B6BC6}" type="parTrans" cxnId="{310C09D9-4C16-438A-92AB-B5422D0715CB}">
      <dgm:prSet/>
      <dgm:spPr/>
      <dgm:t>
        <a:bodyPr/>
        <a:lstStyle/>
        <a:p>
          <a:endParaRPr lang="de-DE"/>
        </a:p>
      </dgm:t>
    </dgm:pt>
    <dgm:pt modelId="{D9B2FDC0-4909-4988-9A2E-07749042977C}">
      <dgm:prSet custT="1"/>
      <dgm:spPr/>
      <dgm:t>
        <a:bodyPr/>
        <a:lstStyle/>
        <a:p>
          <a:pPr algn="ctr"/>
          <a:r>
            <a:rPr lang="de-DE" sz="1400" b="1" u="sng" dirty="0" smtClean="0"/>
            <a:t>Ende 2017: </a:t>
          </a:r>
        </a:p>
        <a:p>
          <a:pPr algn="ctr"/>
          <a:r>
            <a:rPr lang="de-DE" sz="1400" dirty="0" smtClean="0"/>
            <a:t>Beginn der RV-Verhandlungen unter Federführung der Senatsverwaltung für Integration, Arbeit und Soziales von Berlin </a:t>
          </a:r>
          <a:endParaRPr lang="de-DE" sz="1400" dirty="0"/>
        </a:p>
      </dgm:t>
    </dgm:pt>
    <dgm:pt modelId="{BE660869-16C4-4BA9-8D0C-E269F52FAD1A}" type="parTrans" cxnId="{348861D1-D0A6-4CD4-8746-9EF38231DD39}">
      <dgm:prSet/>
      <dgm:spPr/>
      <dgm:t>
        <a:bodyPr/>
        <a:lstStyle/>
        <a:p>
          <a:endParaRPr lang="de-DE"/>
        </a:p>
      </dgm:t>
    </dgm:pt>
    <dgm:pt modelId="{6B3A05E7-225A-48BF-9884-89BFE50A58A3}" type="sibTrans" cxnId="{348861D1-D0A6-4CD4-8746-9EF38231DD39}">
      <dgm:prSet/>
      <dgm:spPr/>
      <dgm:t>
        <a:bodyPr/>
        <a:lstStyle/>
        <a:p>
          <a:endParaRPr lang="de-DE"/>
        </a:p>
      </dgm:t>
    </dgm:pt>
    <dgm:pt modelId="{9359DCFE-EE2C-4D57-A467-0CB29646A190}" type="pres">
      <dgm:prSet presAssocID="{D59118C8-BD45-4793-A5DE-E8E42CE04897}" presName="Name0" presStyleCnt="0">
        <dgm:presLayoutVars>
          <dgm:chMax val="7"/>
          <dgm:chPref val="5"/>
        </dgm:presLayoutVars>
      </dgm:prSet>
      <dgm:spPr/>
      <dgm:t>
        <a:bodyPr/>
        <a:lstStyle/>
        <a:p>
          <a:endParaRPr lang="de-DE"/>
        </a:p>
      </dgm:t>
    </dgm:pt>
    <dgm:pt modelId="{2683152C-B83F-4D1D-81E2-7F03648C6593}" type="pres">
      <dgm:prSet presAssocID="{D59118C8-BD45-4793-A5DE-E8E42CE04897}" presName="arrowNode" presStyleLbl="node1" presStyleIdx="0" presStyleCnt="1"/>
      <dgm:spPr/>
    </dgm:pt>
    <dgm:pt modelId="{D540171E-EE6B-4C14-872A-0420119E3BB4}" type="pres">
      <dgm:prSet presAssocID="{E7946537-AD8A-4C7C-B2FE-73250D1278DF}" presName="txNode1" presStyleLbl="revTx" presStyleIdx="0" presStyleCnt="6" custFlipVert="1" custScaleX="80037" custScaleY="13281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74CBB40-E8D7-4B54-9129-904E6C325AC9}" type="pres">
      <dgm:prSet presAssocID="{6E781D8C-8922-4331-B36E-E870999E2CB8}" presName="txNode2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CB7B6D9-852F-4B33-A2B6-6E5DC1709D81}" type="pres">
      <dgm:prSet presAssocID="{6E90659F-0D86-4C4F-962B-D83B88C2F84B}" presName="dotNode2" presStyleCnt="0"/>
      <dgm:spPr/>
    </dgm:pt>
    <dgm:pt modelId="{C78BA7DD-52DA-43B2-AAD0-6B5D4A0E1F25}" type="pres">
      <dgm:prSet presAssocID="{6E90659F-0D86-4C4F-962B-D83B88C2F84B}" presName="dotRepeatNode" presStyleLbl="fgShp" presStyleIdx="0" presStyleCnt="4"/>
      <dgm:spPr/>
      <dgm:t>
        <a:bodyPr/>
        <a:lstStyle/>
        <a:p>
          <a:endParaRPr lang="de-DE"/>
        </a:p>
      </dgm:t>
    </dgm:pt>
    <dgm:pt modelId="{4F5856C3-F97A-4855-9079-08101CD40B75}" type="pres">
      <dgm:prSet presAssocID="{D9B2FDC0-4909-4988-9A2E-07749042977C}" presName="txNode3" presStyleLbl="revTx" presStyleIdx="2" presStyleCnt="6" custScaleX="102013" custScaleY="162990" custLinFactNeighborX="-20605" custLinFactNeighborY="1310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BC7ADB-3D1E-4DBA-96A8-28A515E481D0}" type="pres">
      <dgm:prSet presAssocID="{6B3A05E7-225A-48BF-9884-89BFE50A58A3}" presName="dotNode3" presStyleCnt="0"/>
      <dgm:spPr/>
    </dgm:pt>
    <dgm:pt modelId="{D18C7D64-E904-4F7F-86AA-1F11A5566D6D}" type="pres">
      <dgm:prSet presAssocID="{6B3A05E7-225A-48BF-9884-89BFE50A58A3}" presName="dotRepeatNode" presStyleLbl="fgShp" presStyleIdx="1" presStyleCnt="4"/>
      <dgm:spPr/>
      <dgm:t>
        <a:bodyPr/>
        <a:lstStyle/>
        <a:p>
          <a:endParaRPr lang="de-DE"/>
        </a:p>
      </dgm:t>
    </dgm:pt>
    <dgm:pt modelId="{408AD851-BA39-4325-B1C4-DA012B921B24}" type="pres">
      <dgm:prSet presAssocID="{B14256C0-84A5-412C-A93E-B1295FE171BA}" presName="txNode4" presStyleLbl="revTx" presStyleIdx="3" presStyleCnt="6" custScaleX="133943" custScaleY="198025" custLinFactNeighborX="26401" custLinFactNeighborY="-1474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EB86B2A-D75F-4D6A-BB41-A3DAE002BBA1}" type="pres">
      <dgm:prSet presAssocID="{98152460-F626-4FF2-8069-2FCC01548C42}" presName="dotNode4" presStyleCnt="0"/>
      <dgm:spPr/>
    </dgm:pt>
    <dgm:pt modelId="{9E60DADE-576F-4C33-90B5-FF1973AC3C1F}" type="pres">
      <dgm:prSet presAssocID="{98152460-F626-4FF2-8069-2FCC01548C42}" presName="dotRepeatNode" presStyleLbl="fgShp" presStyleIdx="2" presStyleCnt="4"/>
      <dgm:spPr/>
      <dgm:t>
        <a:bodyPr/>
        <a:lstStyle/>
        <a:p>
          <a:endParaRPr lang="de-DE"/>
        </a:p>
      </dgm:t>
    </dgm:pt>
    <dgm:pt modelId="{E8DECE4E-94C4-433E-83EF-E06BC499F51D}" type="pres">
      <dgm:prSet presAssocID="{ADA2606B-2B76-4F09-849E-4CFBB631156F}" presName="txNode5" presStyleLbl="revTx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430A630-8A51-4503-9BE9-3D08D474D63F}" type="pres">
      <dgm:prSet presAssocID="{DA1654FF-68CD-4AD5-B2A5-7A825533189B}" presName="dotNode5" presStyleCnt="0"/>
      <dgm:spPr/>
    </dgm:pt>
    <dgm:pt modelId="{B35E8B86-CB15-47FB-9251-A96FF4EB0ECD}" type="pres">
      <dgm:prSet presAssocID="{DA1654FF-68CD-4AD5-B2A5-7A825533189B}" presName="dotRepeatNode" presStyleLbl="fgShp" presStyleIdx="3" presStyleCnt="4"/>
      <dgm:spPr/>
      <dgm:t>
        <a:bodyPr/>
        <a:lstStyle/>
        <a:p>
          <a:endParaRPr lang="de-DE"/>
        </a:p>
      </dgm:t>
    </dgm:pt>
    <dgm:pt modelId="{D5241466-F4A9-49BE-93A9-278BC11F7833}" type="pres">
      <dgm:prSet presAssocID="{91DFE201-DEFD-4C20-AE6A-8C72E774A523}" presName="txNode6" presStyleLbl="revTx" presStyleIdx="5" presStyleCnt="6" custLinFactNeighborX="21443" custLinFactNeighborY="-1474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9524FA01-B422-473C-B7C6-8678B2E324F4}" type="presOf" srcId="{6E90659F-0D86-4C4F-962B-D83B88C2F84B}" destId="{C78BA7DD-52DA-43B2-AAD0-6B5D4A0E1F25}" srcOrd="0" destOrd="0" presId="urn:microsoft.com/office/officeart/2009/3/layout/DescendingProcess"/>
    <dgm:cxn modelId="{0E7566C2-4780-4CFA-9342-BF8373779B87}" type="presOf" srcId="{E7946537-AD8A-4C7C-B2FE-73250D1278DF}" destId="{D540171E-EE6B-4C14-872A-0420119E3BB4}" srcOrd="0" destOrd="0" presId="urn:microsoft.com/office/officeart/2009/3/layout/DescendingProcess"/>
    <dgm:cxn modelId="{20111846-5E23-4877-B76F-10AB45E47A18}" type="presOf" srcId="{6E781D8C-8922-4331-B36E-E870999E2CB8}" destId="{474CBB40-E8D7-4B54-9129-904E6C325AC9}" srcOrd="0" destOrd="0" presId="urn:microsoft.com/office/officeart/2009/3/layout/DescendingProcess"/>
    <dgm:cxn modelId="{27413A58-F364-4AF4-8632-EA1F230F5AF8}" srcId="{D59118C8-BD45-4793-A5DE-E8E42CE04897}" destId="{6E781D8C-8922-4331-B36E-E870999E2CB8}" srcOrd="1" destOrd="0" parTransId="{05F5ACAC-86CF-43AA-974C-238F53B4085B}" sibTransId="{6E90659F-0D86-4C4F-962B-D83B88C2F84B}"/>
    <dgm:cxn modelId="{7CEB32CC-B0CB-41B1-8158-BD758FA518B1}" type="presOf" srcId="{91DFE201-DEFD-4C20-AE6A-8C72E774A523}" destId="{D5241466-F4A9-49BE-93A9-278BC11F7833}" srcOrd="0" destOrd="0" presId="urn:microsoft.com/office/officeart/2009/3/layout/DescendingProcess"/>
    <dgm:cxn modelId="{B1A88D03-D875-4956-9E28-4C6EE40553C8}" type="presOf" srcId="{D9B2FDC0-4909-4988-9A2E-07749042977C}" destId="{4F5856C3-F97A-4855-9079-08101CD40B75}" srcOrd="0" destOrd="0" presId="urn:microsoft.com/office/officeart/2009/3/layout/DescendingProcess"/>
    <dgm:cxn modelId="{348861D1-D0A6-4CD4-8746-9EF38231DD39}" srcId="{D59118C8-BD45-4793-A5DE-E8E42CE04897}" destId="{D9B2FDC0-4909-4988-9A2E-07749042977C}" srcOrd="2" destOrd="0" parTransId="{BE660869-16C4-4BA9-8D0C-E269F52FAD1A}" sibTransId="{6B3A05E7-225A-48BF-9884-89BFE50A58A3}"/>
    <dgm:cxn modelId="{1F4B9F17-3F78-4CBC-93D7-79C0C4460B63}" srcId="{D59118C8-BD45-4793-A5DE-E8E42CE04897}" destId="{91DFE201-DEFD-4C20-AE6A-8C72E774A523}" srcOrd="5" destOrd="0" parTransId="{C952AF54-4093-479A-A167-356BBA9CB07F}" sibTransId="{E50C268C-F80E-46CD-A3BB-9A92A5B4335A}"/>
    <dgm:cxn modelId="{3EA8F1C2-F542-4985-A2A4-46609762FBB3}" type="presOf" srcId="{D59118C8-BD45-4793-A5DE-E8E42CE04897}" destId="{9359DCFE-EE2C-4D57-A467-0CB29646A190}" srcOrd="0" destOrd="0" presId="urn:microsoft.com/office/officeart/2009/3/layout/DescendingProcess"/>
    <dgm:cxn modelId="{4F4BB2C2-C1D5-4AEF-923A-48AF3924B00E}" type="presOf" srcId="{DA1654FF-68CD-4AD5-B2A5-7A825533189B}" destId="{B35E8B86-CB15-47FB-9251-A96FF4EB0ECD}" srcOrd="0" destOrd="0" presId="urn:microsoft.com/office/officeart/2009/3/layout/DescendingProcess"/>
    <dgm:cxn modelId="{19EE2750-A018-45FD-A871-D18E7D812795}" srcId="{D59118C8-BD45-4793-A5DE-E8E42CE04897}" destId="{B14256C0-84A5-412C-A93E-B1295FE171BA}" srcOrd="3" destOrd="0" parTransId="{D403FCB1-3CDE-441E-81D6-793FC84A9320}" sibTransId="{98152460-F626-4FF2-8069-2FCC01548C42}"/>
    <dgm:cxn modelId="{52CA1AE3-56E8-4C3D-BDE3-9AFFACA4654C}" type="presOf" srcId="{98152460-F626-4FF2-8069-2FCC01548C42}" destId="{9E60DADE-576F-4C33-90B5-FF1973AC3C1F}" srcOrd="0" destOrd="0" presId="urn:microsoft.com/office/officeart/2009/3/layout/DescendingProcess"/>
    <dgm:cxn modelId="{310C09D9-4C16-438A-92AB-B5422D0715CB}" srcId="{D59118C8-BD45-4793-A5DE-E8E42CE04897}" destId="{E7946537-AD8A-4C7C-B2FE-73250D1278DF}" srcOrd="0" destOrd="0" parTransId="{5D541A3B-7924-469F-94E6-77E35D0B6BC6}" sibTransId="{A900AF44-12D2-46D7-89C5-B02B2054511E}"/>
    <dgm:cxn modelId="{FB21D8E5-1B78-474A-A044-8EDC5B8D8167}" type="presOf" srcId="{6B3A05E7-225A-48BF-9884-89BFE50A58A3}" destId="{D18C7D64-E904-4F7F-86AA-1F11A5566D6D}" srcOrd="0" destOrd="0" presId="urn:microsoft.com/office/officeart/2009/3/layout/DescendingProcess"/>
    <dgm:cxn modelId="{0DDC551A-072C-4429-AB49-389B1BE7592B}" type="presOf" srcId="{B14256C0-84A5-412C-A93E-B1295FE171BA}" destId="{408AD851-BA39-4325-B1C4-DA012B921B24}" srcOrd="0" destOrd="0" presId="urn:microsoft.com/office/officeart/2009/3/layout/DescendingProcess"/>
    <dgm:cxn modelId="{F105C230-0FBD-47F8-8619-D41E06777957}" srcId="{D59118C8-BD45-4793-A5DE-E8E42CE04897}" destId="{ADA2606B-2B76-4F09-849E-4CFBB631156F}" srcOrd="4" destOrd="0" parTransId="{AB3CA6A3-9A3D-405E-AA67-6AAFA282C8BC}" sibTransId="{DA1654FF-68CD-4AD5-B2A5-7A825533189B}"/>
    <dgm:cxn modelId="{A152354B-EFE4-4D25-A002-C8A86D4BA18D}" type="presOf" srcId="{ADA2606B-2B76-4F09-849E-4CFBB631156F}" destId="{E8DECE4E-94C4-433E-83EF-E06BC499F51D}" srcOrd="0" destOrd="0" presId="urn:microsoft.com/office/officeart/2009/3/layout/DescendingProcess"/>
    <dgm:cxn modelId="{293A08F4-CF52-420F-8F88-F34A59CE2320}" type="presParOf" srcId="{9359DCFE-EE2C-4D57-A467-0CB29646A190}" destId="{2683152C-B83F-4D1D-81E2-7F03648C6593}" srcOrd="0" destOrd="0" presId="urn:microsoft.com/office/officeart/2009/3/layout/DescendingProcess"/>
    <dgm:cxn modelId="{DC82D4DA-CDBA-4147-83DB-1CB237E3A9C3}" type="presParOf" srcId="{9359DCFE-EE2C-4D57-A467-0CB29646A190}" destId="{D540171E-EE6B-4C14-872A-0420119E3BB4}" srcOrd="1" destOrd="0" presId="urn:microsoft.com/office/officeart/2009/3/layout/DescendingProcess"/>
    <dgm:cxn modelId="{6A2BF5CF-2D20-465D-B9A9-23B416B12181}" type="presParOf" srcId="{9359DCFE-EE2C-4D57-A467-0CB29646A190}" destId="{474CBB40-E8D7-4B54-9129-904E6C325AC9}" srcOrd="2" destOrd="0" presId="urn:microsoft.com/office/officeart/2009/3/layout/DescendingProcess"/>
    <dgm:cxn modelId="{3DCEB335-D662-4E39-BEC1-1CA46DF9AFCD}" type="presParOf" srcId="{9359DCFE-EE2C-4D57-A467-0CB29646A190}" destId="{9CB7B6D9-852F-4B33-A2B6-6E5DC1709D81}" srcOrd="3" destOrd="0" presId="urn:microsoft.com/office/officeart/2009/3/layout/DescendingProcess"/>
    <dgm:cxn modelId="{FE25DF72-C3D3-4659-8588-F37238C994A7}" type="presParOf" srcId="{9CB7B6D9-852F-4B33-A2B6-6E5DC1709D81}" destId="{C78BA7DD-52DA-43B2-AAD0-6B5D4A0E1F25}" srcOrd="0" destOrd="0" presId="urn:microsoft.com/office/officeart/2009/3/layout/DescendingProcess"/>
    <dgm:cxn modelId="{0BEFBCE1-0BA7-4FF0-8F7C-06598559B621}" type="presParOf" srcId="{9359DCFE-EE2C-4D57-A467-0CB29646A190}" destId="{4F5856C3-F97A-4855-9079-08101CD40B75}" srcOrd="4" destOrd="0" presId="urn:microsoft.com/office/officeart/2009/3/layout/DescendingProcess"/>
    <dgm:cxn modelId="{65144ED4-5C04-48DF-9BC4-857700626429}" type="presParOf" srcId="{9359DCFE-EE2C-4D57-A467-0CB29646A190}" destId="{8BBC7ADB-3D1E-4DBA-96A8-28A515E481D0}" srcOrd="5" destOrd="0" presId="urn:microsoft.com/office/officeart/2009/3/layout/DescendingProcess"/>
    <dgm:cxn modelId="{EAA228F9-F1B3-4E32-9D94-028DDD76D6B7}" type="presParOf" srcId="{8BBC7ADB-3D1E-4DBA-96A8-28A515E481D0}" destId="{D18C7D64-E904-4F7F-86AA-1F11A5566D6D}" srcOrd="0" destOrd="0" presId="urn:microsoft.com/office/officeart/2009/3/layout/DescendingProcess"/>
    <dgm:cxn modelId="{4A981D41-1AA3-46FF-B94F-330F45D57353}" type="presParOf" srcId="{9359DCFE-EE2C-4D57-A467-0CB29646A190}" destId="{408AD851-BA39-4325-B1C4-DA012B921B24}" srcOrd="6" destOrd="0" presId="urn:microsoft.com/office/officeart/2009/3/layout/DescendingProcess"/>
    <dgm:cxn modelId="{9C20F545-B926-4613-B9F1-D9851147AD0C}" type="presParOf" srcId="{9359DCFE-EE2C-4D57-A467-0CB29646A190}" destId="{8EB86B2A-D75F-4D6A-BB41-A3DAE002BBA1}" srcOrd="7" destOrd="0" presId="urn:microsoft.com/office/officeart/2009/3/layout/DescendingProcess"/>
    <dgm:cxn modelId="{80E10174-5FA4-4F4F-A606-D7E6DBDBF2A4}" type="presParOf" srcId="{8EB86B2A-D75F-4D6A-BB41-A3DAE002BBA1}" destId="{9E60DADE-576F-4C33-90B5-FF1973AC3C1F}" srcOrd="0" destOrd="0" presId="urn:microsoft.com/office/officeart/2009/3/layout/DescendingProcess"/>
    <dgm:cxn modelId="{B23C492F-B99E-4C6C-8ECD-5EAF3AFAEA6D}" type="presParOf" srcId="{9359DCFE-EE2C-4D57-A467-0CB29646A190}" destId="{E8DECE4E-94C4-433E-83EF-E06BC499F51D}" srcOrd="8" destOrd="0" presId="urn:microsoft.com/office/officeart/2009/3/layout/DescendingProcess"/>
    <dgm:cxn modelId="{36F7F4E4-BB8F-4864-835B-2B0C3C14CD76}" type="presParOf" srcId="{9359DCFE-EE2C-4D57-A467-0CB29646A190}" destId="{1430A630-8A51-4503-9BE9-3D08D474D63F}" srcOrd="9" destOrd="0" presId="urn:microsoft.com/office/officeart/2009/3/layout/DescendingProcess"/>
    <dgm:cxn modelId="{5239EC86-BCCD-4CA8-9FA0-D5398F9553F5}" type="presParOf" srcId="{1430A630-8A51-4503-9BE9-3D08D474D63F}" destId="{B35E8B86-CB15-47FB-9251-A96FF4EB0ECD}" srcOrd="0" destOrd="0" presId="urn:microsoft.com/office/officeart/2009/3/layout/DescendingProcess"/>
    <dgm:cxn modelId="{72564A50-EA30-4957-81F7-7B6C4D4E581D}" type="presParOf" srcId="{9359DCFE-EE2C-4D57-A467-0CB29646A190}" destId="{D5241466-F4A9-49BE-93A9-278BC11F7833}" srcOrd="10" destOrd="0" presId="urn:microsoft.com/office/officeart/2009/3/layout/Descending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3D49C3E-8068-428B-B0FB-C00FD3CB120F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530A97B-380D-45C2-8CE5-B0EDE09255DB}">
      <dgm:prSet phldrT="[Text]"/>
      <dgm:spPr/>
      <dgm:t>
        <a:bodyPr/>
        <a:lstStyle/>
        <a:p>
          <a:r>
            <a:rPr lang="de-DE" dirty="0" smtClean="0"/>
            <a:t>Entwerfen neuer Formulierungen in einer Arbeitsgruppe </a:t>
          </a:r>
          <a:endParaRPr lang="de-DE" dirty="0"/>
        </a:p>
      </dgm:t>
    </dgm:pt>
    <dgm:pt modelId="{CA761934-CC7D-42BA-A272-3EA730FFB2BD}" type="parTrans" cxnId="{72847DE2-69E2-4856-9398-7AC4CE1B671A}">
      <dgm:prSet/>
      <dgm:spPr/>
      <dgm:t>
        <a:bodyPr/>
        <a:lstStyle/>
        <a:p>
          <a:endParaRPr lang="de-DE"/>
        </a:p>
      </dgm:t>
    </dgm:pt>
    <dgm:pt modelId="{93A6496A-C018-4D62-AB7E-58E917821340}" type="sibTrans" cxnId="{72847DE2-69E2-4856-9398-7AC4CE1B671A}">
      <dgm:prSet/>
      <dgm:spPr/>
      <dgm:t>
        <a:bodyPr/>
        <a:lstStyle/>
        <a:p>
          <a:endParaRPr lang="de-DE"/>
        </a:p>
      </dgm:t>
    </dgm:pt>
    <dgm:pt modelId="{5B638122-4ADF-489F-A63E-D1A7806E3DAC}">
      <dgm:prSet phldrT="[Text]"/>
      <dgm:spPr/>
      <dgm:t>
        <a:bodyPr/>
        <a:lstStyle/>
        <a:p>
          <a:r>
            <a:rPr lang="de-DE" dirty="0" smtClean="0"/>
            <a:t>Unterarbeitsgruppe „Leistung“</a:t>
          </a:r>
          <a:endParaRPr lang="de-DE" dirty="0"/>
        </a:p>
      </dgm:t>
    </dgm:pt>
    <dgm:pt modelId="{C7079DC7-1496-4135-B260-FB3D06130AC4}" type="parTrans" cxnId="{F235D94B-25EB-472F-A84D-25F0C2812919}">
      <dgm:prSet/>
      <dgm:spPr/>
      <dgm:t>
        <a:bodyPr/>
        <a:lstStyle/>
        <a:p>
          <a:endParaRPr lang="de-DE"/>
        </a:p>
      </dgm:t>
    </dgm:pt>
    <dgm:pt modelId="{D57DC5B6-8275-4F09-B3E7-1C3396C127C6}" type="sibTrans" cxnId="{F235D94B-25EB-472F-A84D-25F0C2812919}">
      <dgm:prSet/>
      <dgm:spPr/>
      <dgm:t>
        <a:bodyPr/>
        <a:lstStyle/>
        <a:p>
          <a:endParaRPr lang="de-DE"/>
        </a:p>
      </dgm:t>
    </dgm:pt>
    <dgm:pt modelId="{939C1235-36FB-42C0-B90A-0B2AA8433603}">
      <dgm:prSet phldrT="[Text]"/>
      <dgm:spPr/>
      <dgm:t>
        <a:bodyPr/>
        <a:lstStyle/>
        <a:p>
          <a:r>
            <a:rPr lang="de-DE" dirty="0" smtClean="0"/>
            <a:t>Unterarbeitsgruppe „Vergütung“</a:t>
          </a:r>
          <a:endParaRPr lang="de-DE" dirty="0"/>
        </a:p>
      </dgm:t>
    </dgm:pt>
    <dgm:pt modelId="{2EA9893C-9048-47DF-8B35-E51C9AAEFB96}" type="parTrans" cxnId="{08C7C60A-373B-4F95-B18E-C8616D9393DF}">
      <dgm:prSet/>
      <dgm:spPr/>
      <dgm:t>
        <a:bodyPr/>
        <a:lstStyle/>
        <a:p>
          <a:endParaRPr lang="de-DE"/>
        </a:p>
      </dgm:t>
    </dgm:pt>
    <dgm:pt modelId="{5FA9E302-1EF0-4C30-AA66-00C6EBE7D5B7}" type="sibTrans" cxnId="{08C7C60A-373B-4F95-B18E-C8616D9393DF}">
      <dgm:prSet/>
      <dgm:spPr/>
      <dgm:t>
        <a:bodyPr/>
        <a:lstStyle/>
        <a:p>
          <a:endParaRPr lang="de-DE"/>
        </a:p>
      </dgm:t>
    </dgm:pt>
    <dgm:pt modelId="{5F760EF7-B537-4A75-9E7E-ABED95340CE6}">
      <dgm:prSet phldrT="[Text]"/>
      <dgm:spPr/>
      <dgm:t>
        <a:bodyPr/>
        <a:lstStyle/>
        <a:p>
          <a:r>
            <a:rPr lang="de-DE" dirty="0" smtClean="0"/>
            <a:t>Mitwirkung der Interessenvertretung der Menschen mit Behinderungen</a:t>
          </a:r>
          <a:endParaRPr lang="de-DE" dirty="0"/>
        </a:p>
      </dgm:t>
    </dgm:pt>
    <dgm:pt modelId="{BCB81619-8640-4ADA-A2D9-6A587484531D}" type="parTrans" cxnId="{85F9C102-768B-40E1-9FBD-EF89445F35B8}">
      <dgm:prSet/>
      <dgm:spPr/>
      <dgm:t>
        <a:bodyPr/>
        <a:lstStyle/>
        <a:p>
          <a:endParaRPr lang="de-DE"/>
        </a:p>
      </dgm:t>
    </dgm:pt>
    <dgm:pt modelId="{AB0D7DA7-CD52-4ACB-840E-1863659BDA78}" type="sibTrans" cxnId="{85F9C102-768B-40E1-9FBD-EF89445F35B8}">
      <dgm:prSet/>
      <dgm:spPr/>
      <dgm:t>
        <a:bodyPr/>
        <a:lstStyle/>
        <a:p>
          <a:endParaRPr lang="de-DE"/>
        </a:p>
      </dgm:t>
    </dgm:pt>
    <dgm:pt modelId="{89C3A83E-C032-4AF6-9013-F341D842F80C}">
      <dgm:prSet phldrT="[Text]"/>
      <dgm:spPr/>
      <dgm:t>
        <a:bodyPr/>
        <a:lstStyle/>
        <a:p>
          <a:r>
            <a:rPr lang="de-DE" dirty="0" smtClean="0"/>
            <a:t>Landesbeauftragte für Menschen mit Behinderung</a:t>
          </a:r>
          <a:endParaRPr lang="de-DE" dirty="0"/>
        </a:p>
      </dgm:t>
    </dgm:pt>
    <dgm:pt modelId="{987262F3-C637-41DA-9637-EA3D7100CCCA}" type="parTrans" cxnId="{9D6760E8-A877-4E39-8326-ED2C4CC51C75}">
      <dgm:prSet/>
      <dgm:spPr/>
      <dgm:t>
        <a:bodyPr/>
        <a:lstStyle/>
        <a:p>
          <a:endParaRPr lang="de-DE"/>
        </a:p>
      </dgm:t>
    </dgm:pt>
    <dgm:pt modelId="{A66378F6-2B77-4E10-9643-E5CC1C5C7AE6}" type="sibTrans" cxnId="{9D6760E8-A877-4E39-8326-ED2C4CC51C75}">
      <dgm:prSet/>
      <dgm:spPr/>
      <dgm:t>
        <a:bodyPr/>
        <a:lstStyle/>
        <a:p>
          <a:endParaRPr lang="de-DE"/>
        </a:p>
      </dgm:t>
    </dgm:pt>
    <dgm:pt modelId="{85AD0ADE-06D9-4F18-B4A2-BEDEDAE3F10A}">
      <dgm:prSet phldrT="[Text]"/>
      <dgm:spPr/>
      <dgm:t>
        <a:bodyPr/>
        <a:lstStyle/>
        <a:p>
          <a:r>
            <a:rPr lang="de-DE" dirty="0" smtClean="0"/>
            <a:t>eine weitere vom Landesbeirat für Menschen mit Behinderung benannte Person </a:t>
          </a:r>
          <a:endParaRPr lang="de-DE" dirty="0"/>
        </a:p>
      </dgm:t>
    </dgm:pt>
    <dgm:pt modelId="{C6B1FC10-630A-4CEB-8AE6-9C615FFF80AB}" type="parTrans" cxnId="{3197A405-18B0-4327-B0BD-93266F98E75A}">
      <dgm:prSet/>
      <dgm:spPr/>
      <dgm:t>
        <a:bodyPr/>
        <a:lstStyle/>
        <a:p>
          <a:endParaRPr lang="de-DE"/>
        </a:p>
      </dgm:t>
    </dgm:pt>
    <dgm:pt modelId="{7D7326C4-BC1A-4083-B740-CD8DC3300770}" type="sibTrans" cxnId="{3197A405-18B0-4327-B0BD-93266F98E75A}">
      <dgm:prSet/>
      <dgm:spPr/>
      <dgm:t>
        <a:bodyPr/>
        <a:lstStyle/>
        <a:p>
          <a:endParaRPr lang="de-DE"/>
        </a:p>
      </dgm:t>
    </dgm:pt>
    <dgm:pt modelId="{26CF1C9B-39BC-4875-ABAA-2AB3904EC559}" type="pres">
      <dgm:prSet presAssocID="{63D49C3E-8068-428B-B0FB-C00FD3CB120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2ACB711-E9B7-445F-9971-EACAF961F73C}" type="pres">
      <dgm:prSet presAssocID="{4530A97B-380D-45C2-8CE5-B0EDE09255DB}" presName="root" presStyleCnt="0"/>
      <dgm:spPr/>
    </dgm:pt>
    <dgm:pt modelId="{DD3ACAEC-C657-4CBA-BBA7-58848DCAABEB}" type="pres">
      <dgm:prSet presAssocID="{4530A97B-380D-45C2-8CE5-B0EDE09255DB}" presName="rootComposite" presStyleCnt="0"/>
      <dgm:spPr/>
    </dgm:pt>
    <dgm:pt modelId="{9AA8A25D-51E1-4D9F-B8EB-0547408642D1}" type="pres">
      <dgm:prSet presAssocID="{4530A97B-380D-45C2-8CE5-B0EDE09255DB}" presName="rootText" presStyleLbl="node1" presStyleIdx="0" presStyleCnt="2"/>
      <dgm:spPr/>
      <dgm:t>
        <a:bodyPr/>
        <a:lstStyle/>
        <a:p>
          <a:endParaRPr lang="de-DE"/>
        </a:p>
      </dgm:t>
    </dgm:pt>
    <dgm:pt modelId="{221BFB2B-FD6E-4F51-876D-3DF83994778D}" type="pres">
      <dgm:prSet presAssocID="{4530A97B-380D-45C2-8CE5-B0EDE09255DB}" presName="rootConnector" presStyleLbl="node1" presStyleIdx="0" presStyleCnt="2"/>
      <dgm:spPr/>
      <dgm:t>
        <a:bodyPr/>
        <a:lstStyle/>
        <a:p>
          <a:endParaRPr lang="de-DE"/>
        </a:p>
      </dgm:t>
    </dgm:pt>
    <dgm:pt modelId="{0AE1E918-2CA5-44AC-A789-8CCBE14A5DD7}" type="pres">
      <dgm:prSet presAssocID="{4530A97B-380D-45C2-8CE5-B0EDE09255DB}" presName="childShape" presStyleCnt="0"/>
      <dgm:spPr/>
    </dgm:pt>
    <dgm:pt modelId="{204D120E-697D-4271-837E-56DD75531914}" type="pres">
      <dgm:prSet presAssocID="{C7079DC7-1496-4135-B260-FB3D06130AC4}" presName="Name13" presStyleLbl="parChTrans1D2" presStyleIdx="0" presStyleCnt="4"/>
      <dgm:spPr/>
      <dgm:t>
        <a:bodyPr/>
        <a:lstStyle/>
        <a:p>
          <a:endParaRPr lang="de-DE"/>
        </a:p>
      </dgm:t>
    </dgm:pt>
    <dgm:pt modelId="{39809654-8A61-4277-83EF-23FA1AC6A31D}" type="pres">
      <dgm:prSet presAssocID="{5B638122-4ADF-489F-A63E-D1A7806E3DAC}" presName="child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1A18B2-2E33-4B6F-B57B-4A75BB464D89}" type="pres">
      <dgm:prSet presAssocID="{2EA9893C-9048-47DF-8B35-E51C9AAEFB96}" presName="Name13" presStyleLbl="parChTrans1D2" presStyleIdx="1" presStyleCnt="4"/>
      <dgm:spPr/>
      <dgm:t>
        <a:bodyPr/>
        <a:lstStyle/>
        <a:p>
          <a:endParaRPr lang="de-DE"/>
        </a:p>
      </dgm:t>
    </dgm:pt>
    <dgm:pt modelId="{592AE743-A455-45E3-80D8-54D0BC45E419}" type="pres">
      <dgm:prSet presAssocID="{939C1235-36FB-42C0-B90A-0B2AA8433603}" presName="child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B37F207-CCA5-443A-A3BE-149F684A7ADE}" type="pres">
      <dgm:prSet presAssocID="{5F760EF7-B537-4A75-9E7E-ABED95340CE6}" presName="root" presStyleCnt="0"/>
      <dgm:spPr/>
    </dgm:pt>
    <dgm:pt modelId="{4A60D50F-4977-4F7C-9B4A-455FFAAAA1CF}" type="pres">
      <dgm:prSet presAssocID="{5F760EF7-B537-4A75-9E7E-ABED95340CE6}" presName="rootComposite" presStyleCnt="0"/>
      <dgm:spPr/>
    </dgm:pt>
    <dgm:pt modelId="{9EB5DE93-2B29-468C-80DE-6380A4B4FD08}" type="pres">
      <dgm:prSet presAssocID="{5F760EF7-B537-4A75-9E7E-ABED95340CE6}" presName="rootText" presStyleLbl="node1" presStyleIdx="1" presStyleCnt="2"/>
      <dgm:spPr/>
      <dgm:t>
        <a:bodyPr/>
        <a:lstStyle/>
        <a:p>
          <a:endParaRPr lang="de-DE"/>
        </a:p>
      </dgm:t>
    </dgm:pt>
    <dgm:pt modelId="{9961BADC-89B7-49E5-A7AD-F9D7B13B0A35}" type="pres">
      <dgm:prSet presAssocID="{5F760EF7-B537-4A75-9E7E-ABED95340CE6}" presName="rootConnector" presStyleLbl="node1" presStyleIdx="1" presStyleCnt="2"/>
      <dgm:spPr/>
      <dgm:t>
        <a:bodyPr/>
        <a:lstStyle/>
        <a:p>
          <a:endParaRPr lang="de-DE"/>
        </a:p>
      </dgm:t>
    </dgm:pt>
    <dgm:pt modelId="{808D79F9-9C3B-475E-AF9F-C552FCBABB44}" type="pres">
      <dgm:prSet presAssocID="{5F760EF7-B537-4A75-9E7E-ABED95340CE6}" presName="childShape" presStyleCnt="0"/>
      <dgm:spPr/>
    </dgm:pt>
    <dgm:pt modelId="{A1741F1D-C25F-49DC-B25A-D09C7AB6ED61}" type="pres">
      <dgm:prSet presAssocID="{987262F3-C637-41DA-9637-EA3D7100CCCA}" presName="Name13" presStyleLbl="parChTrans1D2" presStyleIdx="2" presStyleCnt="4"/>
      <dgm:spPr/>
      <dgm:t>
        <a:bodyPr/>
        <a:lstStyle/>
        <a:p>
          <a:endParaRPr lang="de-DE"/>
        </a:p>
      </dgm:t>
    </dgm:pt>
    <dgm:pt modelId="{7050F479-AE7A-44D5-846C-E34848D2B4C8}" type="pres">
      <dgm:prSet presAssocID="{89C3A83E-C032-4AF6-9013-F341D842F80C}" presName="child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66535F-D901-4093-98C3-6F7AE5608C25}" type="pres">
      <dgm:prSet presAssocID="{C6B1FC10-630A-4CEB-8AE6-9C615FFF80AB}" presName="Name13" presStyleLbl="parChTrans1D2" presStyleIdx="3" presStyleCnt="4"/>
      <dgm:spPr/>
      <dgm:t>
        <a:bodyPr/>
        <a:lstStyle/>
        <a:p>
          <a:endParaRPr lang="de-DE"/>
        </a:p>
      </dgm:t>
    </dgm:pt>
    <dgm:pt modelId="{B73C77D0-51A6-46B2-9ECA-8DE9F8DEB0D2}" type="pres">
      <dgm:prSet presAssocID="{85AD0ADE-06D9-4F18-B4A2-BEDEDAE3F10A}" presName="child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8C7C60A-373B-4F95-B18E-C8616D9393DF}" srcId="{4530A97B-380D-45C2-8CE5-B0EDE09255DB}" destId="{939C1235-36FB-42C0-B90A-0B2AA8433603}" srcOrd="1" destOrd="0" parTransId="{2EA9893C-9048-47DF-8B35-E51C9AAEFB96}" sibTransId="{5FA9E302-1EF0-4C30-AA66-00C6EBE7D5B7}"/>
    <dgm:cxn modelId="{27D977CA-57AB-4792-A16B-2807686E1F92}" type="presOf" srcId="{2EA9893C-9048-47DF-8B35-E51C9AAEFB96}" destId="{F21A18B2-2E33-4B6F-B57B-4A75BB464D89}" srcOrd="0" destOrd="0" presId="urn:microsoft.com/office/officeart/2005/8/layout/hierarchy3"/>
    <dgm:cxn modelId="{326FC5E3-5905-4638-9342-A07A625DEEDA}" type="presOf" srcId="{89C3A83E-C032-4AF6-9013-F341D842F80C}" destId="{7050F479-AE7A-44D5-846C-E34848D2B4C8}" srcOrd="0" destOrd="0" presId="urn:microsoft.com/office/officeart/2005/8/layout/hierarchy3"/>
    <dgm:cxn modelId="{813665AB-E809-412F-93E4-DBA5E94F5476}" type="presOf" srcId="{5F760EF7-B537-4A75-9E7E-ABED95340CE6}" destId="{9961BADC-89B7-49E5-A7AD-F9D7B13B0A35}" srcOrd="1" destOrd="0" presId="urn:microsoft.com/office/officeart/2005/8/layout/hierarchy3"/>
    <dgm:cxn modelId="{DAF47FAF-4F69-45F2-A854-8DC1C4E74339}" type="presOf" srcId="{4530A97B-380D-45C2-8CE5-B0EDE09255DB}" destId="{221BFB2B-FD6E-4F51-876D-3DF83994778D}" srcOrd="1" destOrd="0" presId="urn:microsoft.com/office/officeart/2005/8/layout/hierarchy3"/>
    <dgm:cxn modelId="{9D6760E8-A877-4E39-8326-ED2C4CC51C75}" srcId="{5F760EF7-B537-4A75-9E7E-ABED95340CE6}" destId="{89C3A83E-C032-4AF6-9013-F341D842F80C}" srcOrd="0" destOrd="0" parTransId="{987262F3-C637-41DA-9637-EA3D7100CCCA}" sibTransId="{A66378F6-2B77-4E10-9643-E5CC1C5C7AE6}"/>
    <dgm:cxn modelId="{0590D1C9-919B-4AB6-944D-47226E7C682A}" type="presOf" srcId="{63D49C3E-8068-428B-B0FB-C00FD3CB120F}" destId="{26CF1C9B-39BC-4875-ABAA-2AB3904EC559}" srcOrd="0" destOrd="0" presId="urn:microsoft.com/office/officeart/2005/8/layout/hierarchy3"/>
    <dgm:cxn modelId="{3197A405-18B0-4327-B0BD-93266F98E75A}" srcId="{5F760EF7-B537-4A75-9E7E-ABED95340CE6}" destId="{85AD0ADE-06D9-4F18-B4A2-BEDEDAE3F10A}" srcOrd="1" destOrd="0" parTransId="{C6B1FC10-630A-4CEB-8AE6-9C615FFF80AB}" sibTransId="{7D7326C4-BC1A-4083-B740-CD8DC3300770}"/>
    <dgm:cxn modelId="{85F9C102-768B-40E1-9FBD-EF89445F35B8}" srcId="{63D49C3E-8068-428B-B0FB-C00FD3CB120F}" destId="{5F760EF7-B537-4A75-9E7E-ABED95340CE6}" srcOrd="1" destOrd="0" parTransId="{BCB81619-8640-4ADA-A2D9-6A587484531D}" sibTransId="{AB0D7DA7-CD52-4ACB-840E-1863659BDA78}"/>
    <dgm:cxn modelId="{BF44BE6D-9BEB-4455-974D-46DDDA1F04A9}" type="presOf" srcId="{5B638122-4ADF-489F-A63E-D1A7806E3DAC}" destId="{39809654-8A61-4277-83EF-23FA1AC6A31D}" srcOrd="0" destOrd="0" presId="urn:microsoft.com/office/officeart/2005/8/layout/hierarchy3"/>
    <dgm:cxn modelId="{72847DE2-69E2-4856-9398-7AC4CE1B671A}" srcId="{63D49C3E-8068-428B-B0FB-C00FD3CB120F}" destId="{4530A97B-380D-45C2-8CE5-B0EDE09255DB}" srcOrd="0" destOrd="0" parTransId="{CA761934-CC7D-42BA-A272-3EA730FFB2BD}" sibTransId="{93A6496A-C018-4D62-AB7E-58E917821340}"/>
    <dgm:cxn modelId="{F235D94B-25EB-472F-A84D-25F0C2812919}" srcId="{4530A97B-380D-45C2-8CE5-B0EDE09255DB}" destId="{5B638122-4ADF-489F-A63E-D1A7806E3DAC}" srcOrd="0" destOrd="0" parTransId="{C7079DC7-1496-4135-B260-FB3D06130AC4}" sibTransId="{D57DC5B6-8275-4F09-B3E7-1C3396C127C6}"/>
    <dgm:cxn modelId="{E1FCE6A0-FF1D-4ABE-8EFF-5C370197237A}" type="presOf" srcId="{939C1235-36FB-42C0-B90A-0B2AA8433603}" destId="{592AE743-A455-45E3-80D8-54D0BC45E419}" srcOrd="0" destOrd="0" presId="urn:microsoft.com/office/officeart/2005/8/layout/hierarchy3"/>
    <dgm:cxn modelId="{6B248034-D2BD-475A-83DB-81CDEAAA7FD9}" type="presOf" srcId="{C6B1FC10-630A-4CEB-8AE6-9C615FFF80AB}" destId="{8B66535F-D901-4093-98C3-6F7AE5608C25}" srcOrd="0" destOrd="0" presId="urn:microsoft.com/office/officeart/2005/8/layout/hierarchy3"/>
    <dgm:cxn modelId="{9229287E-6CC8-4FC6-ABE7-86AAA06EAD8F}" type="presOf" srcId="{5F760EF7-B537-4A75-9E7E-ABED95340CE6}" destId="{9EB5DE93-2B29-468C-80DE-6380A4B4FD08}" srcOrd="0" destOrd="0" presId="urn:microsoft.com/office/officeart/2005/8/layout/hierarchy3"/>
    <dgm:cxn modelId="{E9E17240-E22D-4F22-948B-DB86E5A47D4C}" type="presOf" srcId="{85AD0ADE-06D9-4F18-B4A2-BEDEDAE3F10A}" destId="{B73C77D0-51A6-46B2-9ECA-8DE9F8DEB0D2}" srcOrd="0" destOrd="0" presId="urn:microsoft.com/office/officeart/2005/8/layout/hierarchy3"/>
    <dgm:cxn modelId="{9DD2CD56-BFDA-49CA-AA8E-7F51C538307A}" type="presOf" srcId="{C7079DC7-1496-4135-B260-FB3D06130AC4}" destId="{204D120E-697D-4271-837E-56DD75531914}" srcOrd="0" destOrd="0" presId="urn:microsoft.com/office/officeart/2005/8/layout/hierarchy3"/>
    <dgm:cxn modelId="{E0E4E988-1993-4132-8FB7-C679731FCF0C}" type="presOf" srcId="{4530A97B-380D-45C2-8CE5-B0EDE09255DB}" destId="{9AA8A25D-51E1-4D9F-B8EB-0547408642D1}" srcOrd="0" destOrd="0" presId="urn:microsoft.com/office/officeart/2005/8/layout/hierarchy3"/>
    <dgm:cxn modelId="{F78321B6-E1BF-4FDE-9599-354DC030BD2A}" type="presOf" srcId="{987262F3-C637-41DA-9637-EA3D7100CCCA}" destId="{A1741F1D-C25F-49DC-B25A-D09C7AB6ED61}" srcOrd="0" destOrd="0" presId="urn:microsoft.com/office/officeart/2005/8/layout/hierarchy3"/>
    <dgm:cxn modelId="{393D2CF9-1DED-4C23-B3B7-6BF72EF964FB}" type="presParOf" srcId="{26CF1C9B-39BC-4875-ABAA-2AB3904EC559}" destId="{42ACB711-E9B7-445F-9971-EACAF961F73C}" srcOrd="0" destOrd="0" presId="urn:microsoft.com/office/officeart/2005/8/layout/hierarchy3"/>
    <dgm:cxn modelId="{6C333152-2628-4822-8D97-94C14DC64375}" type="presParOf" srcId="{42ACB711-E9B7-445F-9971-EACAF961F73C}" destId="{DD3ACAEC-C657-4CBA-BBA7-58848DCAABEB}" srcOrd="0" destOrd="0" presId="urn:microsoft.com/office/officeart/2005/8/layout/hierarchy3"/>
    <dgm:cxn modelId="{9797C76B-6A9B-4473-BA92-BB3A81B8235D}" type="presParOf" srcId="{DD3ACAEC-C657-4CBA-BBA7-58848DCAABEB}" destId="{9AA8A25D-51E1-4D9F-B8EB-0547408642D1}" srcOrd="0" destOrd="0" presId="urn:microsoft.com/office/officeart/2005/8/layout/hierarchy3"/>
    <dgm:cxn modelId="{9F6C01E9-CDDC-4C01-A7B2-81211667F340}" type="presParOf" srcId="{DD3ACAEC-C657-4CBA-BBA7-58848DCAABEB}" destId="{221BFB2B-FD6E-4F51-876D-3DF83994778D}" srcOrd="1" destOrd="0" presId="urn:microsoft.com/office/officeart/2005/8/layout/hierarchy3"/>
    <dgm:cxn modelId="{BD7C2444-ACD0-43AB-8FC9-7508A0B933F8}" type="presParOf" srcId="{42ACB711-E9B7-445F-9971-EACAF961F73C}" destId="{0AE1E918-2CA5-44AC-A789-8CCBE14A5DD7}" srcOrd="1" destOrd="0" presId="urn:microsoft.com/office/officeart/2005/8/layout/hierarchy3"/>
    <dgm:cxn modelId="{9CEFA0E7-07AD-4C5B-BBC9-6F6250249743}" type="presParOf" srcId="{0AE1E918-2CA5-44AC-A789-8CCBE14A5DD7}" destId="{204D120E-697D-4271-837E-56DD75531914}" srcOrd="0" destOrd="0" presId="urn:microsoft.com/office/officeart/2005/8/layout/hierarchy3"/>
    <dgm:cxn modelId="{233BFB56-3C9B-4A6A-941A-C267CC55E26A}" type="presParOf" srcId="{0AE1E918-2CA5-44AC-A789-8CCBE14A5DD7}" destId="{39809654-8A61-4277-83EF-23FA1AC6A31D}" srcOrd="1" destOrd="0" presId="urn:microsoft.com/office/officeart/2005/8/layout/hierarchy3"/>
    <dgm:cxn modelId="{7051808A-A263-404A-90DF-DC1DBD3F1804}" type="presParOf" srcId="{0AE1E918-2CA5-44AC-A789-8CCBE14A5DD7}" destId="{F21A18B2-2E33-4B6F-B57B-4A75BB464D89}" srcOrd="2" destOrd="0" presId="urn:microsoft.com/office/officeart/2005/8/layout/hierarchy3"/>
    <dgm:cxn modelId="{6F424F13-65C0-4216-9113-6B5DF3F96301}" type="presParOf" srcId="{0AE1E918-2CA5-44AC-A789-8CCBE14A5DD7}" destId="{592AE743-A455-45E3-80D8-54D0BC45E419}" srcOrd="3" destOrd="0" presId="urn:microsoft.com/office/officeart/2005/8/layout/hierarchy3"/>
    <dgm:cxn modelId="{6B17D479-7576-4A8B-93DA-4CC1DD8ACA5D}" type="presParOf" srcId="{26CF1C9B-39BC-4875-ABAA-2AB3904EC559}" destId="{1B37F207-CCA5-443A-A3BE-149F684A7ADE}" srcOrd="1" destOrd="0" presId="urn:microsoft.com/office/officeart/2005/8/layout/hierarchy3"/>
    <dgm:cxn modelId="{4B2CD026-817B-4C0E-B056-1C0523A2BE64}" type="presParOf" srcId="{1B37F207-CCA5-443A-A3BE-149F684A7ADE}" destId="{4A60D50F-4977-4F7C-9B4A-455FFAAAA1CF}" srcOrd="0" destOrd="0" presId="urn:microsoft.com/office/officeart/2005/8/layout/hierarchy3"/>
    <dgm:cxn modelId="{58EB4DE0-8D4B-49B8-8854-36E0D44C7FFB}" type="presParOf" srcId="{4A60D50F-4977-4F7C-9B4A-455FFAAAA1CF}" destId="{9EB5DE93-2B29-468C-80DE-6380A4B4FD08}" srcOrd="0" destOrd="0" presId="urn:microsoft.com/office/officeart/2005/8/layout/hierarchy3"/>
    <dgm:cxn modelId="{0312357C-7D5F-47A5-BB21-46257ECDDDB3}" type="presParOf" srcId="{4A60D50F-4977-4F7C-9B4A-455FFAAAA1CF}" destId="{9961BADC-89B7-49E5-A7AD-F9D7B13B0A35}" srcOrd="1" destOrd="0" presId="urn:microsoft.com/office/officeart/2005/8/layout/hierarchy3"/>
    <dgm:cxn modelId="{0F147F94-7A22-4FAB-8D37-21AC6F8DB70F}" type="presParOf" srcId="{1B37F207-CCA5-443A-A3BE-149F684A7ADE}" destId="{808D79F9-9C3B-475E-AF9F-C552FCBABB44}" srcOrd="1" destOrd="0" presId="urn:microsoft.com/office/officeart/2005/8/layout/hierarchy3"/>
    <dgm:cxn modelId="{027E7E73-6691-4DCA-9F75-6B7FAA15A856}" type="presParOf" srcId="{808D79F9-9C3B-475E-AF9F-C552FCBABB44}" destId="{A1741F1D-C25F-49DC-B25A-D09C7AB6ED61}" srcOrd="0" destOrd="0" presId="urn:microsoft.com/office/officeart/2005/8/layout/hierarchy3"/>
    <dgm:cxn modelId="{1DC0AE83-DB68-45D0-8D16-9AADF9796FA4}" type="presParOf" srcId="{808D79F9-9C3B-475E-AF9F-C552FCBABB44}" destId="{7050F479-AE7A-44D5-846C-E34848D2B4C8}" srcOrd="1" destOrd="0" presId="urn:microsoft.com/office/officeart/2005/8/layout/hierarchy3"/>
    <dgm:cxn modelId="{5006475F-0B66-4475-8C69-A01E13584230}" type="presParOf" srcId="{808D79F9-9C3B-475E-AF9F-C552FCBABB44}" destId="{8B66535F-D901-4093-98C3-6F7AE5608C25}" srcOrd="2" destOrd="0" presId="urn:microsoft.com/office/officeart/2005/8/layout/hierarchy3"/>
    <dgm:cxn modelId="{FCF621BA-7E76-4A24-A182-446781972C1D}" type="presParOf" srcId="{808D79F9-9C3B-475E-AF9F-C552FCBABB44}" destId="{B73C77D0-51A6-46B2-9ECA-8DE9F8DEB0D2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3D49C3E-8068-428B-B0FB-C00FD3CB120F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530A97B-380D-45C2-8CE5-B0EDE09255DB}">
      <dgm:prSet phldrT="[Text]"/>
      <dgm:spPr/>
      <dgm:t>
        <a:bodyPr/>
        <a:lstStyle/>
        <a:p>
          <a:r>
            <a:rPr lang="de-DE" dirty="0" smtClean="0"/>
            <a:t>Teilhabe am Arbeitsleben</a:t>
          </a:r>
          <a:endParaRPr lang="de-DE" dirty="0"/>
        </a:p>
      </dgm:t>
    </dgm:pt>
    <dgm:pt modelId="{CA761934-CC7D-42BA-A272-3EA730FFB2BD}" type="parTrans" cxnId="{72847DE2-69E2-4856-9398-7AC4CE1B671A}">
      <dgm:prSet/>
      <dgm:spPr/>
      <dgm:t>
        <a:bodyPr/>
        <a:lstStyle/>
        <a:p>
          <a:endParaRPr lang="de-DE"/>
        </a:p>
      </dgm:t>
    </dgm:pt>
    <dgm:pt modelId="{93A6496A-C018-4D62-AB7E-58E917821340}" type="sibTrans" cxnId="{72847DE2-69E2-4856-9398-7AC4CE1B671A}">
      <dgm:prSet/>
      <dgm:spPr/>
      <dgm:t>
        <a:bodyPr/>
        <a:lstStyle/>
        <a:p>
          <a:endParaRPr lang="de-DE"/>
        </a:p>
      </dgm:t>
    </dgm:pt>
    <dgm:pt modelId="{5B638122-4ADF-489F-A63E-D1A7806E3DAC}">
      <dgm:prSet phldrT="[Text]" custT="1"/>
      <dgm:spPr/>
      <dgm:t>
        <a:bodyPr/>
        <a:lstStyle/>
        <a:p>
          <a:r>
            <a:rPr lang="de-DE" sz="1200" dirty="0" err="1" smtClean="0"/>
            <a:t>WfbM</a:t>
          </a:r>
          <a:endParaRPr lang="de-DE" sz="1200" dirty="0"/>
        </a:p>
      </dgm:t>
    </dgm:pt>
    <dgm:pt modelId="{C7079DC7-1496-4135-B260-FB3D06130AC4}" type="parTrans" cxnId="{F235D94B-25EB-472F-A84D-25F0C2812919}">
      <dgm:prSet/>
      <dgm:spPr/>
      <dgm:t>
        <a:bodyPr/>
        <a:lstStyle/>
        <a:p>
          <a:endParaRPr lang="de-DE"/>
        </a:p>
      </dgm:t>
    </dgm:pt>
    <dgm:pt modelId="{D57DC5B6-8275-4F09-B3E7-1C3396C127C6}" type="sibTrans" cxnId="{F235D94B-25EB-472F-A84D-25F0C2812919}">
      <dgm:prSet/>
      <dgm:spPr/>
      <dgm:t>
        <a:bodyPr/>
        <a:lstStyle/>
        <a:p>
          <a:endParaRPr lang="de-DE"/>
        </a:p>
      </dgm:t>
    </dgm:pt>
    <dgm:pt modelId="{939C1235-36FB-42C0-B90A-0B2AA8433603}">
      <dgm:prSet phldrT="[Text]" custT="1"/>
      <dgm:spPr/>
      <dgm:t>
        <a:bodyPr/>
        <a:lstStyle/>
        <a:p>
          <a:r>
            <a:rPr lang="de-DE" sz="1200" dirty="0" smtClean="0"/>
            <a:t>andere </a:t>
          </a:r>
          <a:r>
            <a:rPr lang="de-DE" sz="1200" dirty="0" err="1" smtClean="0"/>
            <a:t>Leistungsan</a:t>
          </a:r>
          <a:r>
            <a:rPr lang="de-DE" sz="1200" dirty="0" smtClean="0"/>
            <a:t>-bieter </a:t>
          </a:r>
          <a:endParaRPr lang="de-DE" sz="1200" dirty="0"/>
        </a:p>
      </dgm:t>
    </dgm:pt>
    <dgm:pt modelId="{2EA9893C-9048-47DF-8B35-E51C9AAEFB96}" type="parTrans" cxnId="{08C7C60A-373B-4F95-B18E-C8616D9393DF}">
      <dgm:prSet/>
      <dgm:spPr/>
      <dgm:t>
        <a:bodyPr/>
        <a:lstStyle/>
        <a:p>
          <a:endParaRPr lang="de-DE"/>
        </a:p>
      </dgm:t>
    </dgm:pt>
    <dgm:pt modelId="{5FA9E302-1EF0-4C30-AA66-00C6EBE7D5B7}" type="sibTrans" cxnId="{08C7C60A-373B-4F95-B18E-C8616D9393DF}">
      <dgm:prSet/>
      <dgm:spPr/>
      <dgm:t>
        <a:bodyPr/>
        <a:lstStyle/>
        <a:p>
          <a:endParaRPr lang="de-DE"/>
        </a:p>
      </dgm:t>
    </dgm:pt>
    <dgm:pt modelId="{5F760EF7-B537-4A75-9E7E-ABED95340CE6}">
      <dgm:prSet phldrT="[Text]"/>
      <dgm:spPr/>
      <dgm:t>
        <a:bodyPr/>
        <a:lstStyle/>
        <a:p>
          <a:r>
            <a:rPr lang="de-DE" dirty="0" smtClean="0"/>
            <a:t>Soziale Teilhabe</a:t>
          </a:r>
          <a:endParaRPr lang="de-DE" dirty="0"/>
        </a:p>
      </dgm:t>
    </dgm:pt>
    <dgm:pt modelId="{BCB81619-8640-4ADA-A2D9-6A587484531D}" type="parTrans" cxnId="{85F9C102-768B-40E1-9FBD-EF89445F35B8}">
      <dgm:prSet/>
      <dgm:spPr/>
      <dgm:t>
        <a:bodyPr/>
        <a:lstStyle/>
        <a:p>
          <a:endParaRPr lang="de-DE"/>
        </a:p>
      </dgm:t>
    </dgm:pt>
    <dgm:pt modelId="{AB0D7DA7-CD52-4ACB-840E-1863659BDA78}" type="sibTrans" cxnId="{85F9C102-768B-40E1-9FBD-EF89445F35B8}">
      <dgm:prSet/>
      <dgm:spPr/>
      <dgm:t>
        <a:bodyPr/>
        <a:lstStyle/>
        <a:p>
          <a:endParaRPr lang="de-DE"/>
        </a:p>
      </dgm:t>
    </dgm:pt>
    <dgm:pt modelId="{89C3A83E-C032-4AF6-9013-F341D842F80C}">
      <dgm:prSet phldrT="[Text]" custT="1"/>
      <dgm:spPr/>
      <dgm:t>
        <a:bodyPr/>
        <a:lstStyle/>
        <a:p>
          <a:r>
            <a:rPr lang="de-DE" sz="1200" dirty="0" smtClean="0"/>
            <a:t>Assistenz-leistungen</a:t>
          </a:r>
          <a:endParaRPr lang="de-DE" sz="1200" dirty="0"/>
        </a:p>
      </dgm:t>
    </dgm:pt>
    <dgm:pt modelId="{987262F3-C637-41DA-9637-EA3D7100CCCA}" type="parTrans" cxnId="{9D6760E8-A877-4E39-8326-ED2C4CC51C75}">
      <dgm:prSet/>
      <dgm:spPr/>
      <dgm:t>
        <a:bodyPr/>
        <a:lstStyle/>
        <a:p>
          <a:endParaRPr lang="de-DE"/>
        </a:p>
      </dgm:t>
    </dgm:pt>
    <dgm:pt modelId="{A66378F6-2B77-4E10-9643-E5CC1C5C7AE6}" type="sibTrans" cxnId="{9D6760E8-A877-4E39-8326-ED2C4CC51C75}">
      <dgm:prSet/>
      <dgm:spPr/>
      <dgm:t>
        <a:bodyPr/>
        <a:lstStyle/>
        <a:p>
          <a:endParaRPr lang="de-DE"/>
        </a:p>
      </dgm:t>
    </dgm:pt>
    <dgm:pt modelId="{85AD0ADE-06D9-4F18-B4A2-BEDEDAE3F10A}">
      <dgm:prSet phldrT="[Text]"/>
      <dgm:spPr/>
      <dgm:t>
        <a:bodyPr/>
        <a:lstStyle/>
        <a:p>
          <a:r>
            <a:rPr lang="de-DE" dirty="0" smtClean="0"/>
            <a:t>Erwerb und Erhalt praktischer Fähigkeiten</a:t>
          </a:r>
          <a:endParaRPr lang="de-DE" dirty="0"/>
        </a:p>
      </dgm:t>
    </dgm:pt>
    <dgm:pt modelId="{C6B1FC10-630A-4CEB-8AE6-9C615FFF80AB}" type="parTrans" cxnId="{3197A405-18B0-4327-B0BD-93266F98E75A}">
      <dgm:prSet/>
      <dgm:spPr/>
      <dgm:t>
        <a:bodyPr/>
        <a:lstStyle/>
        <a:p>
          <a:endParaRPr lang="de-DE"/>
        </a:p>
      </dgm:t>
    </dgm:pt>
    <dgm:pt modelId="{7D7326C4-BC1A-4083-B740-CD8DC3300770}" type="sibTrans" cxnId="{3197A405-18B0-4327-B0BD-93266F98E75A}">
      <dgm:prSet/>
      <dgm:spPr/>
      <dgm:t>
        <a:bodyPr/>
        <a:lstStyle/>
        <a:p>
          <a:endParaRPr lang="de-DE"/>
        </a:p>
      </dgm:t>
    </dgm:pt>
    <dgm:pt modelId="{E7D06E7F-652A-4236-913B-CB1A45B22968}">
      <dgm:prSet phldrT="[Text]"/>
      <dgm:spPr/>
      <dgm:t>
        <a:bodyPr/>
        <a:lstStyle/>
        <a:p>
          <a:r>
            <a:rPr lang="de-DE" dirty="0" smtClean="0"/>
            <a:t>Wohnraum</a:t>
          </a:r>
          <a:endParaRPr lang="de-DE" dirty="0"/>
        </a:p>
      </dgm:t>
    </dgm:pt>
    <dgm:pt modelId="{5DB8E73D-BEF8-4893-91D7-134BEA495CCB}" type="sibTrans" cxnId="{E55EBF6A-B19B-4E10-8DA1-22EED278BB11}">
      <dgm:prSet/>
      <dgm:spPr/>
      <dgm:t>
        <a:bodyPr/>
        <a:lstStyle/>
        <a:p>
          <a:endParaRPr lang="de-DE"/>
        </a:p>
      </dgm:t>
    </dgm:pt>
    <dgm:pt modelId="{6AB410B4-099D-4006-BE5B-6A2C8F0039EA}" type="parTrans" cxnId="{E55EBF6A-B19B-4E10-8DA1-22EED278BB11}">
      <dgm:prSet/>
      <dgm:spPr/>
      <dgm:t>
        <a:bodyPr/>
        <a:lstStyle/>
        <a:p>
          <a:endParaRPr lang="de-DE"/>
        </a:p>
      </dgm:t>
    </dgm:pt>
    <dgm:pt modelId="{BB0B7BD8-3943-441D-8D8E-110ACB18DD73}">
      <dgm:prSet phldrT="[Text]"/>
      <dgm:spPr/>
      <dgm:t>
        <a:bodyPr/>
        <a:lstStyle/>
        <a:p>
          <a:r>
            <a:rPr lang="de-DE" dirty="0" smtClean="0"/>
            <a:t>Mobilität</a:t>
          </a:r>
          <a:endParaRPr lang="de-DE" dirty="0"/>
        </a:p>
      </dgm:t>
    </dgm:pt>
    <dgm:pt modelId="{EAC097A8-A40B-40FB-B2C3-53C7DE9DA5DD}" type="parTrans" cxnId="{75CD9AF7-63F3-4769-AC50-B7874D92E852}">
      <dgm:prSet/>
      <dgm:spPr/>
      <dgm:t>
        <a:bodyPr/>
        <a:lstStyle/>
        <a:p>
          <a:endParaRPr lang="de-DE"/>
        </a:p>
      </dgm:t>
    </dgm:pt>
    <dgm:pt modelId="{A65FE05B-6538-4152-B2D8-948F8042AE4C}" type="sibTrans" cxnId="{75CD9AF7-63F3-4769-AC50-B7874D92E852}">
      <dgm:prSet/>
      <dgm:spPr/>
      <dgm:t>
        <a:bodyPr/>
        <a:lstStyle/>
        <a:p>
          <a:endParaRPr lang="de-DE"/>
        </a:p>
      </dgm:t>
    </dgm:pt>
    <dgm:pt modelId="{26CF1C9B-39BC-4875-ABAA-2AB3904EC559}" type="pres">
      <dgm:prSet presAssocID="{63D49C3E-8068-428B-B0FB-C00FD3CB120F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42ACB711-E9B7-445F-9971-EACAF961F73C}" type="pres">
      <dgm:prSet presAssocID="{4530A97B-380D-45C2-8CE5-B0EDE09255DB}" presName="root" presStyleCnt="0"/>
      <dgm:spPr/>
    </dgm:pt>
    <dgm:pt modelId="{DD3ACAEC-C657-4CBA-BBA7-58848DCAABEB}" type="pres">
      <dgm:prSet presAssocID="{4530A97B-380D-45C2-8CE5-B0EDE09255DB}" presName="rootComposite" presStyleCnt="0"/>
      <dgm:spPr/>
    </dgm:pt>
    <dgm:pt modelId="{9AA8A25D-51E1-4D9F-B8EB-0547408642D1}" type="pres">
      <dgm:prSet presAssocID="{4530A97B-380D-45C2-8CE5-B0EDE09255DB}" presName="rootText" presStyleLbl="node1" presStyleIdx="0" presStyleCnt="2"/>
      <dgm:spPr/>
      <dgm:t>
        <a:bodyPr/>
        <a:lstStyle/>
        <a:p>
          <a:endParaRPr lang="de-DE"/>
        </a:p>
      </dgm:t>
    </dgm:pt>
    <dgm:pt modelId="{221BFB2B-FD6E-4F51-876D-3DF83994778D}" type="pres">
      <dgm:prSet presAssocID="{4530A97B-380D-45C2-8CE5-B0EDE09255DB}" presName="rootConnector" presStyleLbl="node1" presStyleIdx="0" presStyleCnt="2"/>
      <dgm:spPr/>
      <dgm:t>
        <a:bodyPr/>
        <a:lstStyle/>
        <a:p>
          <a:endParaRPr lang="de-DE"/>
        </a:p>
      </dgm:t>
    </dgm:pt>
    <dgm:pt modelId="{0AE1E918-2CA5-44AC-A789-8CCBE14A5DD7}" type="pres">
      <dgm:prSet presAssocID="{4530A97B-380D-45C2-8CE5-B0EDE09255DB}" presName="childShape" presStyleCnt="0"/>
      <dgm:spPr/>
    </dgm:pt>
    <dgm:pt modelId="{204D120E-697D-4271-837E-56DD75531914}" type="pres">
      <dgm:prSet presAssocID="{C7079DC7-1496-4135-B260-FB3D06130AC4}" presName="Name13" presStyleLbl="parChTrans1D2" presStyleIdx="0" presStyleCnt="6"/>
      <dgm:spPr/>
      <dgm:t>
        <a:bodyPr/>
        <a:lstStyle/>
        <a:p>
          <a:endParaRPr lang="de-DE"/>
        </a:p>
      </dgm:t>
    </dgm:pt>
    <dgm:pt modelId="{39809654-8A61-4277-83EF-23FA1AC6A31D}" type="pres">
      <dgm:prSet presAssocID="{5B638122-4ADF-489F-A63E-D1A7806E3DAC}" presName="childText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1A18B2-2E33-4B6F-B57B-4A75BB464D89}" type="pres">
      <dgm:prSet presAssocID="{2EA9893C-9048-47DF-8B35-E51C9AAEFB96}" presName="Name13" presStyleLbl="parChTrans1D2" presStyleIdx="1" presStyleCnt="6"/>
      <dgm:spPr/>
      <dgm:t>
        <a:bodyPr/>
        <a:lstStyle/>
        <a:p>
          <a:endParaRPr lang="de-DE"/>
        </a:p>
      </dgm:t>
    </dgm:pt>
    <dgm:pt modelId="{592AE743-A455-45E3-80D8-54D0BC45E419}" type="pres">
      <dgm:prSet presAssocID="{939C1235-36FB-42C0-B90A-0B2AA8433603}" presName="childText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B37F207-CCA5-443A-A3BE-149F684A7ADE}" type="pres">
      <dgm:prSet presAssocID="{5F760EF7-B537-4A75-9E7E-ABED95340CE6}" presName="root" presStyleCnt="0"/>
      <dgm:spPr/>
    </dgm:pt>
    <dgm:pt modelId="{4A60D50F-4977-4F7C-9B4A-455FFAAAA1CF}" type="pres">
      <dgm:prSet presAssocID="{5F760EF7-B537-4A75-9E7E-ABED95340CE6}" presName="rootComposite" presStyleCnt="0"/>
      <dgm:spPr/>
    </dgm:pt>
    <dgm:pt modelId="{9EB5DE93-2B29-468C-80DE-6380A4B4FD08}" type="pres">
      <dgm:prSet presAssocID="{5F760EF7-B537-4A75-9E7E-ABED95340CE6}" presName="rootText" presStyleLbl="node1" presStyleIdx="1" presStyleCnt="2"/>
      <dgm:spPr/>
      <dgm:t>
        <a:bodyPr/>
        <a:lstStyle/>
        <a:p>
          <a:endParaRPr lang="de-DE"/>
        </a:p>
      </dgm:t>
    </dgm:pt>
    <dgm:pt modelId="{9961BADC-89B7-49E5-A7AD-F9D7B13B0A35}" type="pres">
      <dgm:prSet presAssocID="{5F760EF7-B537-4A75-9E7E-ABED95340CE6}" presName="rootConnector" presStyleLbl="node1" presStyleIdx="1" presStyleCnt="2"/>
      <dgm:spPr/>
      <dgm:t>
        <a:bodyPr/>
        <a:lstStyle/>
        <a:p>
          <a:endParaRPr lang="de-DE"/>
        </a:p>
      </dgm:t>
    </dgm:pt>
    <dgm:pt modelId="{808D79F9-9C3B-475E-AF9F-C552FCBABB44}" type="pres">
      <dgm:prSet presAssocID="{5F760EF7-B537-4A75-9E7E-ABED95340CE6}" presName="childShape" presStyleCnt="0"/>
      <dgm:spPr/>
    </dgm:pt>
    <dgm:pt modelId="{A1741F1D-C25F-49DC-B25A-D09C7AB6ED61}" type="pres">
      <dgm:prSet presAssocID="{987262F3-C637-41DA-9637-EA3D7100CCCA}" presName="Name13" presStyleLbl="parChTrans1D2" presStyleIdx="2" presStyleCnt="6"/>
      <dgm:spPr/>
      <dgm:t>
        <a:bodyPr/>
        <a:lstStyle/>
        <a:p>
          <a:endParaRPr lang="de-DE"/>
        </a:p>
      </dgm:t>
    </dgm:pt>
    <dgm:pt modelId="{7050F479-AE7A-44D5-846C-E34848D2B4C8}" type="pres">
      <dgm:prSet presAssocID="{89C3A83E-C032-4AF6-9013-F341D842F80C}" presName="childText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66535F-D901-4093-98C3-6F7AE5608C25}" type="pres">
      <dgm:prSet presAssocID="{C6B1FC10-630A-4CEB-8AE6-9C615FFF80AB}" presName="Name13" presStyleLbl="parChTrans1D2" presStyleIdx="3" presStyleCnt="6"/>
      <dgm:spPr/>
      <dgm:t>
        <a:bodyPr/>
        <a:lstStyle/>
        <a:p>
          <a:endParaRPr lang="de-DE"/>
        </a:p>
      </dgm:t>
    </dgm:pt>
    <dgm:pt modelId="{B73C77D0-51A6-46B2-9ECA-8DE9F8DEB0D2}" type="pres">
      <dgm:prSet presAssocID="{85AD0ADE-06D9-4F18-B4A2-BEDEDAE3F10A}" presName="childText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E4F828A-1498-415E-9142-C5A48E7ADCBF}" type="pres">
      <dgm:prSet presAssocID="{6AB410B4-099D-4006-BE5B-6A2C8F0039EA}" presName="Name13" presStyleLbl="parChTrans1D2" presStyleIdx="4" presStyleCnt="6"/>
      <dgm:spPr/>
      <dgm:t>
        <a:bodyPr/>
        <a:lstStyle/>
        <a:p>
          <a:endParaRPr lang="de-DE"/>
        </a:p>
      </dgm:t>
    </dgm:pt>
    <dgm:pt modelId="{71C7C40F-C3CE-4A1D-900E-25233EE13776}" type="pres">
      <dgm:prSet presAssocID="{E7D06E7F-652A-4236-913B-CB1A45B22968}" presName="childText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0B4009-960E-4589-B28D-EDCF591D82BD}" type="pres">
      <dgm:prSet presAssocID="{EAC097A8-A40B-40FB-B2C3-53C7DE9DA5DD}" presName="Name13" presStyleLbl="parChTrans1D2" presStyleIdx="5" presStyleCnt="6"/>
      <dgm:spPr/>
      <dgm:t>
        <a:bodyPr/>
        <a:lstStyle/>
        <a:p>
          <a:endParaRPr lang="de-DE"/>
        </a:p>
      </dgm:t>
    </dgm:pt>
    <dgm:pt modelId="{0DA0817C-C75E-4C4C-AD99-96C9E4790847}" type="pres">
      <dgm:prSet presAssocID="{BB0B7BD8-3943-441D-8D8E-110ACB18DD73}" presName="childText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8C7C60A-373B-4F95-B18E-C8616D9393DF}" srcId="{4530A97B-380D-45C2-8CE5-B0EDE09255DB}" destId="{939C1235-36FB-42C0-B90A-0B2AA8433603}" srcOrd="1" destOrd="0" parTransId="{2EA9893C-9048-47DF-8B35-E51C9AAEFB96}" sibTransId="{5FA9E302-1EF0-4C30-AA66-00C6EBE7D5B7}"/>
    <dgm:cxn modelId="{DBF8B0D7-D490-4876-8581-AC46573D0AC6}" type="presOf" srcId="{6AB410B4-099D-4006-BE5B-6A2C8F0039EA}" destId="{5E4F828A-1498-415E-9142-C5A48E7ADCBF}" srcOrd="0" destOrd="0" presId="urn:microsoft.com/office/officeart/2005/8/layout/hierarchy3"/>
    <dgm:cxn modelId="{9D6760E8-A877-4E39-8326-ED2C4CC51C75}" srcId="{5F760EF7-B537-4A75-9E7E-ABED95340CE6}" destId="{89C3A83E-C032-4AF6-9013-F341D842F80C}" srcOrd="0" destOrd="0" parTransId="{987262F3-C637-41DA-9637-EA3D7100CCCA}" sibTransId="{A66378F6-2B77-4E10-9643-E5CC1C5C7AE6}"/>
    <dgm:cxn modelId="{85F9C102-768B-40E1-9FBD-EF89445F35B8}" srcId="{63D49C3E-8068-428B-B0FB-C00FD3CB120F}" destId="{5F760EF7-B537-4A75-9E7E-ABED95340CE6}" srcOrd="1" destOrd="0" parTransId="{BCB81619-8640-4ADA-A2D9-6A587484531D}" sibTransId="{AB0D7DA7-CD52-4ACB-840E-1863659BDA78}"/>
    <dgm:cxn modelId="{631A69B5-1FF7-421F-A145-873C4B0829C5}" type="presOf" srcId="{C6B1FC10-630A-4CEB-8AE6-9C615FFF80AB}" destId="{8B66535F-D901-4093-98C3-6F7AE5608C25}" srcOrd="0" destOrd="0" presId="urn:microsoft.com/office/officeart/2005/8/layout/hierarchy3"/>
    <dgm:cxn modelId="{E11032EE-7001-4C6A-BD80-07CA13106282}" type="presOf" srcId="{5B638122-4ADF-489F-A63E-D1A7806E3DAC}" destId="{39809654-8A61-4277-83EF-23FA1AC6A31D}" srcOrd="0" destOrd="0" presId="urn:microsoft.com/office/officeart/2005/8/layout/hierarchy3"/>
    <dgm:cxn modelId="{E55EBF6A-B19B-4E10-8DA1-22EED278BB11}" srcId="{5F760EF7-B537-4A75-9E7E-ABED95340CE6}" destId="{E7D06E7F-652A-4236-913B-CB1A45B22968}" srcOrd="2" destOrd="0" parTransId="{6AB410B4-099D-4006-BE5B-6A2C8F0039EA}" sibTransId="{5DB8E73D-BEF8-4893-91D7-134BEA495CCB}"/>
    <dgm:cxn modelId="{D2FF7DE3-727B-4CBF-A47B-89632928ECA8}" type="presOf" srcId="{4530A97B-380D-45C2-8CE5-B0EDE09255DB}" destId="{9AA8A25D-51E1-4D9F-B8EB-0547408642D1}" srcOrd="0" destOrd="0" presId="urn:microsoft.com/office/officeart/2005/8/layout/hierarchy3"/>
    <dgm:cxn modelId="{3E57B74F-0B14-41EE-A1B1-AB96A3525E15}" type="presOf" srcId="{C7079DC7-1496-4135-B260-FB3D06130AC4}" destId="{204D120E-697D-4271-837E-56DD75531914}" srcOrd="0" destOrd="0" presId="urn:microsoft.com/office/officeart/2005/8/layout/hierarchy3"/>
    <dgm:cxn modelId="{41DFC403-921B-4ECC-BE4B-F978DAAFB174}" type="presOf" srcId="{2EA9893C-9048-47DF-8B35-E51C9AAEFB96}" destId="{F21A18B2-2E33-4B6F-B57B-4A75BB464D89}" srcOrd="0" destOrd="0" presId="urn:microsoft.com/office/officeart/2005/8/layout/hierarchy3"/>
    <dgm:cxn modelId="{0D0D696F-1CF8-484E-8F24-8753CE075844}" type="presOf" srcId="{4530A97B-380D-45C2-8CE5-B0EDE09255DB}" destId="{221BFB2B-FD6E-4F51-876D-3DF83994778D}" srcOrd="1" destOrd="0" presId="urn:microsoft.com/office/officeart/2005/8/layout/hierarchy3"/>
    <dgm:cxn modelId="{5D8E18C8-EAF0-4056-9B2E-AD850A26B936}" type="presOf" srcId="{939C1235-36FB-42C0-B90A-0B2AA8433603}" destId="{592AE743-A455-45E3-80D8-54D0BC45E419}" srcOrd="0" destOrd="0" presId="urn:microsoft.com/office/officeart/2005/8/layout/hierarchy3"/>
    <dgm:cxn modelId="{423650C0-90F3-4C97-B56C-9DC5A31BDA03}" type="presOf" srcId="{987262F3-C637-41DA-9637-EA3D7100CCCA}" destId="{A1741F1D-C25F-49DC-B25A-D09C7AB6ED61}" srcOrd="0" destOrd="0" presId="urn:microsoft.com/office/officeart/2005/8/layout/hierarchy3"/>
    <dgm:cxn modelId="{F235D94B-25EB-472F-A84D-25F0C2812919}" srcId="{4530A97B-380D-45C2-8CE5-B0EDE09255DB}" destId="{5B638122-4ADF-489F-A63E-D1A7806E3DAC}" srcOrd="0" destOrd="0" parTransId="{C7079DC7-1496-4135-B260-FB3D06130AC4}" sibTransId="{D57DC5B6-8275-4F09-B3E7-1C3396C127C6}"/>
    <dgm:cxn modelId="{CA5308E2-16A6-45A2-80CA-75F68EE8F9E9}" type="presOf" srcId="{EAC097A8-A40B-40FB-B2C3-53C7DE9DA5DD}" destId="{F80B4009-960E-4589-B28D-EDCF591D82BD}" srcOrd="0" destOrd="0" presId="urn:microsoft.com/office/officeart/2005/8/layout/hierarchy3"/>
    <dgm:cxn modelId="{431875D4-D09A-4A9A-8B79-BE2B714BFAB4}" type="presOf" srcId="{5F760EF7-B537-4A75-9E7E-ABED95340CE6}" destId="{9EB5DE93-2B29-468C-80DE-6380A4B4FD08}" srcOrd="0" destOrd="0" presId="urn:microsoft.com/office/officeart/2005/8/layout/hierarchy3"/>
    <dgm:cxn modelId="{72847DE2-69E2-4856-9398-7AC4CE1B671A}" srcId="{63D49C3E-8068-428B-B0FB-C00FD3CB120F}" destId="{4530A97B-380D-45C2-8CE5-B0EDE09255DB}" srcOrd="0" destOrd="0" parTransId="{CA761934-CC7D-42BA-A272-3EA730FFB2BD}" sibTransId="{93A6496A-C018-4D62-AB7E-58E917821340}"/>
    <dgm:cxn modelId="{A029CFD1-E465-4EA8-92AA-379C1FBD5892}" type="presOf" srcId="{E7D06E7F-652A-4236-913B-CB1A45B22968}" destId="{71C7C40F-C3CE-4A1D-900E-25233EE13776}" srcOrd="0" destOrd="0" presId="urn:microsoft.com/office/officeart/2005/8/layout/hierarchy3"/>
    <dgm:cxn modelId="{9FBCE05B-D79B-4583-9CF9-DECCF427395A}" type="presOf" srcId="{63D49C3E-8068-428B-B0FB-C00FD3CB120F}" destId="{26CF1C9B-39BC-4875-ABAA-2AB3904EC559}" srcOrd="0" destOrd="0" presId="urn:microsoft.com/office/officeart/2005/8/layout/hierarchy3"/>
    <dgm:cxn modelId="{1AD4BF41-852E-464C-8763-07A14764073F}" type="presOf" srcId="{5F760EF7-B537-4A75-9E7E-ABED95340CE6}" destId="{9961BADC-89B7-49E5-A7AD-F9D7B13B0A35}" srcOrd="1" destOrd="0" presId="urn:microsoft.com/office/officeart/2005/8/layout/hierarchy3"/>
    <dgm:cxn modelId="{3197A405-18B0-4327-B0BD-93266F98E75A}" srcId="{5F760EF7-B537-4A75-9E7E-ABED95340CE6}" destId="{85AD0ADE-06D9-4F18-B4A2-BEDEDAE3F10A}" srcOrd="1" destOrd="0" parTransId="{C6B1FC10-630A-4CEB-8AE6-9C615FFF80AB}" sibTransId="{7D7326C4-BC1A-4083-B740-CD8DC3300770}"/>
    <dgm:cxn modelId="{24DFA592-9C5F-46F1-A0C8-0CA2CEF0D9E9}" type="presOf" srcId="{BB0B7BD8-3943-441D-8D8E-110ACB18DD73}" destId="{0DA0817C-C75E-4C4C-AD99-96C9E4790847}" srcOrd="0" destOrd="0" presId="urn:microsoft.com/office/officeart/2005/8/layout/hierarchy3"/>
    <dgm:cxn modelId="{D6003855-30A0-41E4-B0B0-972666A9D069}" type="presOf" srcId="{85AD0ADE-06D9-4F18-B4A2-BEDEDAE3F10A}" destId="{B73C77D0-51A6-46B2-9ECA-8DE9F8DEB0D2}" srcOrd="0" destOrd="0" presId="urn:microsoft.com/office/officeart/2005/8/layout/hierarchy3"/>
    <dgm:cxn modelId="{58E1B1EE-FD2B-4FEF-822C-28F4D8E0DC0A}" type="presOf" srcId="{89C3A83E-C032-4AF6-9013-F341D842F80C}" destId="{7050F479-AE7A-44D5-846C-E34848D2B4C8}" srcOrd="0" destOrd="0" presId="urn:microsoft.com/office/officeart/2005/8/layout/hierarchy3"/>
    <dgm:cxn modelId="{75CD9AF7-63F3-4769-AC50-B7874D92E852}" srcId="{5F760EF7-B537-4A75-9E7E-ABED95340CE6}" destId="{BB0B7BD8-3943-441D-8D8E-110ACB18DD73}" srcOrd="3" destOrd="0" parTransId="{EAC097A8-A40B-40FB-B2C3-53C7DE9DA5DD}" sibTransId="{A65FE05B-6538-4152-B2D8-948F8042AE4C}"/>
    <dgm:cxn modelId="{3262BA57-9668-4A77-9AC5-B62B39E7B7AA}" type="presParOf" srcId="{26CF1C9B-39BC-4875-ABAA-2AB3904EC559}" destId="{42ACB711-E9B7-445F-9971-EACAF961F73C}" srcOrd="0" destOrd="0" presId="urn:microsoft.com/office/officeart/2005/8/layout/hierarchy3"/>
    <dgm:cxn modelId="{508A4F83-7903-474A-BD55-F832114FE71D}" type="presParOf" srcId="{42ACB711-E9B7-445F-9971-EACAF961F73C}" destId="{DD3ACAEC-C657-4CBA-BBA7-58848DCAABEB}" srcOrd="0" destOrd="0" presId="urn:microsoft.com/office/officeart/2005/8/layout/hierarchy3"/>
    <dgm:cxn modelId="{4FFC2C18-E185-4DE1-AF58-8431319F6866}" type="presParOf" srcId="{DD3ACAEC-C657-4CBA-BBA7-58848DCAABEB}" destId="{9AA8A25D-51E1-4D9F-B8EB-0547408642D1}" srcOrd="0" destOrd="0" presId="urn:microsoft.com/office/officeart/2005/8/layout/hierarchy3"/>
    <dgm:cxn modelId="{0537F990-07EB-44C4-9914-9A4887C45E16}" type="presParOf" srcId="{DD3ACAEC-C657-4CBA-BBA7-58848DCAABEB}" destId="{221BFB2B-FD6E-4F51-876D-3DF83994778D}" srcOrd="1" destOrd="0" presId="urn:microsoft.com/office/officeart/2005/8/layout/hierarchy3"/>
    <dgm:cxn modelId="{C9342C8D-3FA9-4F6A-A909-BAB50DBC8616}" type="presParOf" srcId="{42ACB711-E9B7-445F-9971-EACAF961F73C}" destId="{0AE1E918-2CA5-44AC-A789-8CCBE14A5DD7}" srcOrd="1" destOrd="0" presId="urn:microsoft.com/office/officeart/2005/8/layout/hierarchy3"/>
    <dgm:cxn modelId="{AE0C73D3-2FCA-4B1E-AFD4-8F01F3B8F24E}" type="presParOf" srcId="{0AE1E918-2CA5-44AC-A789-8CCBE14A5DD7}" destId="{204D120E-697D-4271-837E-56DD75531914}" srcOrd="0" destOrd="0" presId="urn:microsoft.com/office/officeart/2005/8/layout/hierarchy3"/>
    <dgm:cxn modelId="{9C0561C2-C955-46DD-9670-178ACE07E2FD}" type="presParOf" srcId="{0AE1E918-2CA5-44AC-A789-8CCBE14A5DD7}" destId="{39809654-8A61-4277-83EF-23FA1AC6A31D}" srcOrd="1" destOrd="0" presId="urn:microsoft.com/office/officeart/2005/8/layout/hierarchy3"/>
    <dgm:cxn modelId="{123F4674-52F0-4B5D-909F-2AFDC7D0379D}" type="presParOf" srcId="{0AE1E918-2CA5-44AC-A789-8CCBE14A5DD7}" destId="{F21A18B2-2E33-4B6F-B57B-4A75BB464D89}" srcOrd="2" destOrd="0" presId="urn:microsoft.com/office/officeart/2005/8/layout/hierarchy3"/>
    <dgm:cxn modelId="{08021D8C-FD50-4B67-BEE2-5DA5969BF713}" type="presParOf" srcId="{0AE1E918-2CA5-44AC-A789-8CCBE14A5DD7}" destId="{592AE743-A455-45E3-80D8-54D0BC45E419}" srcOrd="3" destOrd="0" presId="urn:microsoft.com/office/officeart/2005/8/layout/hierarchy3"/>
    <dgm:cxn modelId="{1614652E-D486-486B-A5A7-8489BC3B3505}" type="presParOf" srcId="{26CF1C9B-39BC-4875-ABAA-2AB3904EC559}" destId="{1B37F207-CCA5-443A-A3BE-149F684A7ADE}" srcOrd="1" destOrd="0" presId="urn:microsoft.com/office/officeart/2005/8/layout/hierarchy3"/>
    <dgm:cxn modelId="{4D324724-8428-49FC-AA0C-954A27196D29}" type="presParOf" srcId="{1B37F207-CCA5-443A-A3BE-149F684A7ADE}" destId="{4A60D50F-4977-4F7C-9B4A-455FFAAAA1CF}" srcOrd="0" destOrd="0" presId="urn:microsoft.com/office/officeart/2005/8/layout/hierarchy3"/>
    <dgm:cxn modelId="{E25C98B8-7CD7-4360-9F17-8CCCEE3079DD}" type="presParOf" srcId="{4A60D50F-4977-4F7C-9B4A-455FFAAAA1CF}" destId="{9EB5DE93-2B29-468C-80DE-6380A4B4FD08}" srcOrd="0" destOrd="0" presId="urn:microsoft.com/office/officeart/2005/8/layout/hierarchy3"/>
    <dgm:cxn modelId="{34CA642E-CE68-49D3-90D3-7F00CE8E5FC8}" type="presParOf" srcId="{4A60D50F-4977-4F7C-9B4A-455FFAAAA1CF}" destId="{9961BADC-89B7-49E5-A7AD-F9D7B13B0A35}" srcOrd="1" destOrd="0" presId="urn:microsoft.com/office/officeart/2005/8/layout/hierarchy3"/>
    <dgm:cxn modelId="{D1578FA4-A386-4108-AA92-59BD21EEF6BC}" type="presParOf" srcId="{1B37F207-CCA5-443A-A3BE-149F684A7ADE}" destId="{808D79F9-9C3B-475E-AF9F-C552FCBABB44}" srcOrd="1" destOrd="0" presId="urn:microsoft.com/office/officeart/2005/8/layout/hierarchy3"/>
    <dgm:cxn modelId="{850A3126-7E7F-4CB4-87D3-710F0BCBFE7C}" type="presParOf" srcId="{808D79F9-9C3B-475E-AF9F-C552FCBABB44}" destId="{A1741F1D-C25F-49DC-B25A-D09C7AB6ED61}" srcOrd="0" destOrd="0" presId="urn:microsoft.com/office/officeart/2005/8/layout/hierarchy3"/>
    <dgm:cxn modelId="{27599DA0-94FB-4EE7-90C1-E05C0E9D54B0}" type="presParOf" srcId="{808D79F9-9C3B-475E-AF9F-C552FCBABB44}" destId="{7050F479-AE7A-44D5-846C-E34848D2B4C8}" srcOrd="1" destOrd="0" presId="urn:microsoft.com/office/officeart/2005/8/layout/hierarchy3"/>
    <dgm:cxn modelId="{2CC1C7D9-2ACE-4F7C-BA59-14F51EF2527B}" type="presParOf" srcId="{808D79F9-9C3B-475E-AF9F-C552FCBABB44}" destId="{8B66535F-D901-4093-98C3-6F7AE5608C25}" srcOrd="2" destOrd="0" presId="urn:microsoft.com/office/officeart/2005/8/layout/hierarchy3"/>
    <dgm:cxn modelId="{F0ECD927-1251-4B59-9CC4-1011630BFC69}" type="presParOf" srcId="{808D79F9-9C3B-475E-AF9F-C552FCBABB44}" destId="{B73C77D0-51A6-46B2-9ECA-8DE9F8DEB0D2}" srcOrd="3" destOrd="0" presId="urn:microsoft.com/office/officeart/2005/8/layout/hierarchy3"/>
    <dgm:cxn modelId="{9DE9CDE1-722B-4243-A754-D5304EF6DA1E}" type="presParOf" srcId="{808D79F9-9C3B-475E-AF9F-C552FCBABB44}" destId="{5E4F828A-1498-415E-9142-C5A48E7ADCBF}" srcOrd="4" destOrd="0" presId="urn:microsoft.com/office/officeart/2005/8/layout/hierarchy3"/>
    <dgm:cxn modelId="{3500D3DC-3E16-4EB2-8B49-130687114546}" type="presParOf" srcId="{808D79F9-9C3B-475E-AF9F-C552FCBABB44}" destId="{71C7C40F-C3CE-4A1D-900E-25233EE13776}" srcOrd="5" destOrd="0" presId="urn:microsoft.com/office/officeart/2005/8/layout/hierarchy3"/>
    <dgm:cxn modelId="{A1BDEB8D-4A36-41A7-AAB8-5A66B5E32E1E}" type="presParOf" srcId="{808D79F9-9C3B-475E-AF9F-C552FCBABB44}" destId="{F80B4009-960E-4589-B28D-EDCF591D82BD}" srcOrd="6" destOrd="0" presId="urn:microsoft.com/office/officeart/2005/8/layout/hierarchy3"/>
    <dgm:cxn modelId="{57B53BB7-F2A6-4225-9C26-469F7AB0F727}" type="presParOf" srcId="{808D79F9-9C3B-475E-AF9F-C552FCBABB44}" destId="{0DA0817C-C75E-4C4C-AD99-96C9E4790847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EF7A44C-94B8-4BF1-AEF2-91AB72F9364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7833D5F-8D87-46C4-A9C7-CF5387844EBB}">
      <dgm:prSet phldrT="[Text]"/>
      <dgm:spPr/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Verfahren zum Abschluss von Vereinbarungen</a:t>
          </a:r>
          <a:endParaRPr lang="de-DE" dirty="0">
            <a:solidFill>
              <a:schemeClr val="bg1"/>
            </a:solidFill>
          </a:endParaRPr>
        </a:p>
      </dgm:t>
    </dgm:pt>
    <dgm:pt modelId="{04C4358C-92A2-4E7D-93A7-99C2A8DCE374}" type="parTrans" cxnId="{47FD0668-C3A8-492F-B611-897EC47C6505}">
      <dgm:prSet/>
      <dgm:spPr/>
      <dgm:t>
        <a:bodyPr/>
        <a:lstStyle/>
        <a:p>
          <a:endParaRPr lang="de-DE"/>
        </a:p>
      </dgm:t>
    </dgm:pt>
    <dgm:pt modelId="{7BF61554-6E21-4F3A-9B10-B513625DC864}" type="sibTrans" cxnId="{47FD0668-C3A8-492F-B611-897EC47C6505}">
      <dgm:prSet/>
      <dgm:spPr/>
      <dgm:t>
        <a:bodyPr/>
        <a:lstStyle/>
        <a:p>
          <a:endParaRPr lang="de-DE"/>
        </a:p>
      </dgm:t>
    </dgm:pt>
    <dgm:pt modelId="{E26C0D96-DE59-4B33-8B20-20BC37F32062}">
      <dgm:prSet phldrT="[Text]" custT="1"/>
      <dgm:spPr/>
      <dgm:t>
        <a:bodyPr/>
        <a:lstStyle/>
        <a:p>
          <a:r>
            <a:rPr lang="de-DE" sz="2000" dirty="0" smtClean="0">
              <a:solidFill>
                <a:schemeClr val="tx1"/>
              </a:solidFill>
            </a:rPr>
            <a:t>Entwurf der Verbände </a:t>
          </a:r>
          <a:r>
            <a:rPr lang="de-DE" sz="2000" dirty="0" smtClean="0">
              <a:solidFill>
                <a:schemeClr val="tx1"/>
              </a:solidFill>
            </a:rPr>
            <a:t>vor </a:t>
          </a:r>
          <a:r>
            <a:rPr lang="de-DE" sz="2000" dirty="0" smtClean="0">
              <a:solidFill>
                <a:schemeClr val="tx1"/>
              </a:solidFill>
            </a:rPr>
            <a:t>und wird derzeit verhandelt</a:t>
          </a:r>
          <a:endParaRPr lang="de-DE" sz="2000" dirty="0"/>
        </a:p>
      </dgm:t>
    </dgm:pt>
    <dgm:pt modelId="{B9BDF6FA-1FFF-4869-9240-133B2A21FA5F}" type="parTrans" cxnId="{38EE5EC4-15E6-423B-BFD5-C2DC2DB9FAA0}">
      <dgm:prSet/>
      <dgm:spPr/>
      <dgm:t>
        <a:bodyPr/>
        <a:lstStyle/>
        <a:p>
          <a:endParaRPr lang="de-DE"/>
        </a:p>
      </dgm:t>
    </dgm:pt>
    <dgm:pt modelId="{9744679B-21F4-47F5-BE0D-46A4960DEDAA}" type="sibTrans" cxnId="{38EE5EC4-15E6-423B-BFD5-C2DC2DB9FAA0}">
      <dgm:prSet/>
      <dgm:spPr/>
      <dgm:t>
        <a:bodyPr/>
        <a:lstStyle/>
        <a:p>
          <a:endParaRPr lang="de-DE"/>
        </a:p>
      </dgm:t>
    </dgm:pt>
    <dgm:pt modelId="{180E8960-9C65-4FBB-A479-E3EB1AD0385D}">
      <dgm:prSet custT="1"/>
      <dgm:spPr/>
      <dgm:t>
        <a:bodyPr/>
        <a:lstStyle/>
        <a:p>
          <a:endParaRPr lang="de-DE" sz="1200" dirty="0"/>
        </a:p>
      </dgm:t>
    </dgm:pt>
    <dgm:pt modelId="{9D1F9B34-A264-4F9F-A6B2-ED0DB13B4DE2}" type="parTrans" cxnId="{381F9402-943E-4637-8197-F327A9E19BCB}">
      <dgm:prSet/>
      <dgm:spPr/>
      <dgm:t>
        <a:bodyPr/>
        <a:lstStyle/>
        <a:p>
          <a:endParaRPr lang="de-DE"/>
        </a:p>
      </dgm:t>
    </dgm:pt>
    <dgm:pt modelId="{70B54D61-F644-4F0C-A01D-D0D90645854C}" type="sibTrans" cxnId="{381F9402-943E-4637-8197-F327A9E19BCB}">
      <dgm:prSet/>
      <dgm:spPr/>
      <dgm:t>
        <a:bodyPr/>
        <a:lstStyle/>
        <a:p>
          <a:endParaRPr lang="de-DE"/>
        </a:p>
      </dgm:t>
    </dgm:pt>
    <dgm:pt modelId="{9513ABA5-DA08-4CD5-8792-4E381ABFAC2C}">
      <dgm:prSet phldrT="[Text]"/>
      <dgm:spPr/>
      <dgm:t>
        <a:bodyPr/>
        <a:lstStyle/>
        <a:p>
          <a:r>
            <a:rPr lang="de-DE" b="1" dirty="0" smtClean="0">
              <a:solidFill>
                <a:schemeClr val="bg1"/>
              </a:solidFill>
            </a:rPr>
            <a:t>Maßstäbe für Wirtschaftlichkeit und Qualität sowie deren Überprüfung</a:t>
          </a:r>
          <a:endParaRPr lang="de-DE" dirty="0"/>
        </a:p>
      </dgm:t>
    </dgm:pt>
    <dgm:pt modelId="{A57A828C-FF13-4015-9E89-4CFEFE035D81}" type="sibTrans" cxnId="{555F4D1F-D441-400C-AE57-1EC4820E0426}">
      <dgm:prSet/>
      <dgm:spPr/>
      <dgm:t>
        <a:bodyPr/>
        <a:lstStyle/>
        <a:p>
          <a:endParaRPr lang="de-DE"/>
        </a:p>
      </dgm:t>
    </dgm:pt>
    <dgm:pt modelId="{1EE2ACD9-55D8-4885-A40E-CE97239F0C23}" type="parTrans" cxnId="{555F4D1F-D441-400C-AE57-1EC4820E0426}">
      <dgm:prSet/>
      <dgm:spPr/>
      <dgm:t>
        <a:bodyPr/>
        <a:lstStyle/>
        <a:p>
          <a:endParaRPr lang="de-DE"/>
        </a:p>
      </dgm:t>
    </dgm:pt>
    <dgm:pt modelId="{ECDD5AF2-C1A6-457D-9C0D-2852F55BAED7}">
      <dgm:prSet phldrT="[Text]" custT="1"/>
      <dgm:spPr/>
      <dgm:t>
        <a:bodyPr/>
        <a:lstStyle/>
        <a:p>
          <a:r>
            <a:rPr lang="de-DE" sz="2000" dirty="0" smtClean="0"/>
            <a:t>nahezu </a:t>
          </a:r>
          <a:r>
            <a:rPr lang="de-DE" sz="2000" dirty="0" smtClean="0"/>
            <a:t>geeint, anlasslose Prüfungen sollen landesrechtlich ermöglicht werden (Aufrechterhaltung </a:t>
          </a:r>
          <a:r>
            <a:rPr lang="de-DE" sz="2000" dirty="0" err="1" smtClean="0"/>
            <a:t>status</a:t>
          </a:r>
          <a:r>
            <a:rPr lang="de-DE" sz="2000" dirty="0" smtClean="0"/>
            <a:t> quo)</a:t>
          </a:r>
          <a:endParaRPr lang="de-DE" sz="2000" dirty="0"/>
        </a:p>
      </dgm:t>
    </dgm:pt>
    <dgm:pt modelId="{72301FA3-E034-436D-AA0D-8A23F4E1654D}" type="sibTrans" cxnId="{21A7EB2C-EFF8-46A9-9681-3A101EF5C2A8}">
      <dgm:prSet/>
      <dgm:spPr/>
      <dgm:t>
        <a:bodyPr/>
        <a:lstStyle/>
        <a:p>
          <a:endParaRPr lang="de-DE"/>
        </a:p>
      </dgm:t>
    </dgm:pt>
    <dgm:pt modelId="{7C3E8067-305B-4FB8-99B8-9FCF390384F9}" type="parTrans" cxnId="{21A7EB2C-EFF8-46A9-9681-3A101EF5C2A8}">
      <dgm:prSet/>
      <dgm:spPr/>
      <dgm:t>
        <a:bodyPr/>
        <a:lstStyle/>
        <a:p>
          <a:endParaRPr lang="de-DE"/>
        </a:p>
      </dgm:t>
    </dgm:pt>
    <dgm:pt modelId="{126CECFA-223D-49C6-AD44-4169F9C1E499}" type="pres">
      <dgm:prSet presAssocID="{0EF7A44C-94B8-4BF1-AEF2-91AB72F9364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56B8F43F-F66B-478D-BB9B-4C419739614D}" type="pres">
      <dgm:prSet presAssocID="{9513ABA5-DA08-4CD5-8792-4E381ABFAC2C}" presName="linNode" presStyleCnt="0"/>
      <dgm:spPr/>
    </dgm:pt>
    <dgm:pt modelId="{93800488-29DC-4E7A-AA0A-B45C6C74539B}" type="pres">
      <dgm:prSet presAssocID="{9513ABA5-DA08-4CD5-8792-4E381ABFAC2C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18A34ED-F1D9-4EF8-AD3A-9C047F2D0520}" type="pres">
      <dgm:prSet presAssocID="{9513ABA5-DA08-4CD5-8792-4E381ABFAC2C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239636E-AA59-4A44-84E4-31559637B815}" type="pres">
      <dgm:prSet presAssocID="{A57A828C-FF13-4015-9E89-4CFEFE035D81}" presName="sp" presStyleCnt="0"/>
      <dgm:spPr/>
    </dgm:pt>
    <dgm:pt modelId="{B12442B3-E774-42A0-A562-3730C4D4D523}" type="pres">
      <dgm:prSet presAssocID="{D7833D5F-8D87-46C4-A9C7-CF5387844EBB}" presName="linNode" presStyleCnt="0"/>
      <dgm:spPr/>
    </dgm:pt>
    <dgm:pt modelId="{6DDFE4FC-8852-4417-9031-7DDB775CC2EE}" type="pres">
      <dgm:prSet presAssocID="{D7833D5F-8D87-46C4-A9C7-CF5387844EBB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D24B6E5-839D-4908-AF37-B2B965B463C4}" type="pres">
      <dgm:prSet presAssocID="{D7833D5F-8D87-46C4-A9C7-CF5387844EBB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E251E14-62ED-4C4E-A7B4-F63FAF4790CC}" type="presOf" srcId="{E26C0D96-DE59-4B33-8B20-20BC37F32062}" destId="{5D24B6E5-839D-4908-AF37-B2B965B463C4}" srcOrd="0" destOrd="0" presId="urn:microsoft.com/office/officeart/2005/8/layout/vList5"/>
    <dgm:cxn modelId="{381F9402-943E-4637-8197-F327A9E19BCB}" srcId="{D7833D5F-8D87-46C4-A9C7-CF5387844EBB}" destId="{180E8960-9C65-4FBB-A479-E3EB1AD0385D}" srcOrd="1" destOrd="0" parTransId="{9D1F9B34-A264-4F9F-A6B2-ED0DB13B4DE2}" sibTransId="{70B54D61-F644-4F0C-A01D-D0D90645854C}"/>
    <dgm:cxn modelId="{0901E5AB-8B9F-4C4D-99D0-10239E06E2B6}" type="presOf" srcId="{0EF7A44C-94B8-4BF1-AEF2-91AB72F93642}" destId="{126CECFA-223D-49C6-AD44-4169F9C1E499}" srcOrd="0" destOrd="0" presId="urn:microsoft.com/office/officeart/2005/8/layout/vList5"/>
    <dgm:cxn modelId="{555F4D1F-D441-400C-AE57-1EC4820E0426}" srcId="{0EF7A44C-94B8-4BF1-AEF2-91AB72F93642}" destId="{9513ABA5-DA08-4CD5-8792-4E381ABFAC2C}" srcOrd="0" destOrd="0" parTransId="{1EE2ACD9-55D8-4885-A40E-CE97239F0C23}" sibTransId="{A57A828C-FF13-4015-9E89-4CFEFE035D81}"/>
    <dgm:cxn modelId="{B5FE5286-BB37-4034-9E7F-7ACC7844CD5E}" type="presOf" srcId="{D7833D5F-8D87-46C4-A9C7-CF5387844EBB}" destId="{6DDFE4FC-8852-4417-9031-7DDB775CC2EE}" srcOrd="0" destOrd="0" presId="urn:microsoft.com/office/officeart/2005/8/layout/vList5"/>
    <dgm:cxn modelId="{DACBCF75-1C17-4970-AB53-927C165463A8}" type="presOf" srcId="{9513ABA5-DA08-4CD5-8792-4E381ABFAC2C}" destId="{93800488-29DC-4E7A-AA0A-B45C6C74539B}" srcOrd="0" destOrd="0" presId="urn:microsoft.com/office/officeart/2005/8/layout/vList5"/>
    <dgm:cxn modelId="{47FD0668-C3A8-492F-B611-897EC47C6505}" srcId="{0EF7A44C-94B8-4BF1-AEF2-91AB72F93642}" destId="{D7833D5F-8D87-46C4-A9C7-CF5387844EBB}" srcOrd="1" destOrd="0" parTransId="{04C4358C-92A2-4E7D-93A7-99C2A8DCE374}" sibTransId="{7BF61554-6E21-4F3A-9B10-B513625DC864}"/>
    <dgm:cxn modelId="{38EE5EC4-15E6-423B-BFD5-C2DC2DB9FAA0}" srcId="{D7833D5F-8D87-46C4-A9C7-CF5387844EBB}" destId="{E26C0D96-DE59-4B33-8B20-20BC37F32062}" srcOrd="0" destOrd="0" parTransId="{B9BDF6FA-1FFF-4869-9240-133B2A21FA5F}" sibTransId="{9744679B-21F4-47F5-BE0D-46A4960DEDAA}"/>
    <dgm:cxn modelId="{21A7EB2C-EFF8-46A9-9681-3A101EF5C2A8}" srcId="{9513ABA5-DA08-4CD5-8792-4E381ABFAC2C}" destId="{ECDD5AF2-C1A6-457D-9C0D-2852F55BAED7}" srcOrd="0" destOrd="0" parTransId="{7C3E8067-305B-4FB8-99B8-9FCF390384F9}" sibTransId="{72301FA3-E034-436D-AA0D-8A23F4E1654D}"/>
    <dgm:cxn modelId="{AD8BAD83-3D81-45A7-A991-68048D64CDB8}" type="presOf" srcId="{ECDD5AF2-C1A6-457D-9C0D-2852F55BAED7}" destId="{218A34ED-F1D9-4EF8-AD3A-9C047F2D0520}" srcOrd="0" destOrd="0" presId="urn:microsoft.com/office/officeart/2005/8/layout/vList5"/>
    <dgm:cxn modelId="{D55A788B-4FF3-465B-A929-EF905B7EABAE}" type="presOf" srcId="{180E8960-9C65-4FBB-A479-E3EB1AD0385D}" destId="{5D24B6E5-839D-4908-AF37-B2B965B463C4}" srcOrd="0" destOrd="1" presId="urn:microsoft.com/office/officeart/2005/8/layout/vList5"/>
    <dgm:cxn modelId="{CF88866F-517D-4AE5-89C1-DE568FDCAEC4}" type="presParOf" srcId="{126CECFA-223D-49C6-AD44-4169F9C1E499}" destId="{56B8F43F-F66B-478D-BB9B-4C419739614D}" srcOrd="0" destOrd="0" presId="urn:microsoft.com/office/officeart/2005/8/layout/vList5"/>
    <dgm:cxn modelId="{462A1A53-AE40-4BC2-8668-8EE0662AAAED}" type="presParOf" srcId="{56B8F43F-F66B-478D-BB9B-4C419739614D}" destId="{93800488-29DC-4E7A-AA0A-B45C6C74539B}" srcOrd="0" destOrd="0" presId="urn:microsoft.com/office/officeart/2005/8/layout/vList5"/>
    <dgm:cxn modelId="{1D10E80C-C5C8-44EE-A8FC-80EC5F9BA808}" type="presParOf" srcId="{56B8F43F-F66B-478D-BB9B-4C419739614D}" destId="{218A34ED-F1D9-4EF8-AD3A-9C047F2D0520}" srcOrd="1" destOrd="0" presId="urn:microsoft.com/office/officeart/2005/8/layout/vList5"/>
    <dgm:cxn modelId="{A8132000-189F-474F-BFB7-59A85D41360E}" type="presParOf" srcId="{126CECFA-223D-49C6-AD44-4169F9C1E499}" destId="{5239636E-AA59-4A44-84E4-31559637B815}" srcOrd="1" destOrd="0" presId="urn:microsoft.com/office/officeart/2005/8/layout/vList5"/>
    <dgm:cxn modelId="{8C501C1F-1818-4A64-A26D-7503A5BB2D36}" type="presParOf" srcId="{126CECFA-223D-49C6-AD44-4169F9C1E499}" destId="{B12442B3-E774-42A0-A562-3730C4D4D523}" srcOrd="2" destOrd="0" presId="urn:microsoft.com/office/officeart/2005/8/layout/vList5"/>
    <dgm:cxn modelId="{419669AA-E9A5-46BA-AED1-B5974B02CF68}" type="presParOf" srcId="{B12442B3-E774-42A0-A562-3730C4D4D523}" destId="{6DDFE4FC-8852-4417-9031-7DDB775CC2EE}" srcOrd="0" destOrd="0" presId="urn:microsoft.com/office/officeart/2005/8/layout/vList5"/>
    <dgm:cxn modelId="{70F22466-B74E-466A-814E-94F1A91A8FA1}" type="presParOf" srcId="{B12442B3-E774-42A0-A562-3730C4D4D523}" destId="{5D24B6E5-839D-4908-AF37-B2B965B463C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83152C-B83F-4D1D-81E2-7F03648C6593}">
      <dsp:nvSpPr>
        <dsp:cNvPr id="0" name=""/>
        <dsp:cNvSpPr/>
      </dsp:nvSpPr>
      <dsp:spPr>
        <a:xfrm rot="4396374">
          <a:off x="1629865" y="1115975"/>
          <a:ext cx="4841279" cy="3376189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8BA7DD-52DA-43B2-AAD0-6B5D4A0E1F25}">
      <dsp:nvSpPr>
        <dsp:cNvPr id="0" name=""/>
        <dsp:cNvSpPr/>
      </dsp:nvSpPr>
      <dsp:spPr>
        <a:xfrm>
          <a:off x="3279947" y="1449143"/>
          <a:ext cx="122257" cy="122257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8C7D64-E904-4F7F-86AA-1F11A5566D6D}">
      <dsp:nvSpPr>
        <dsp:cNvPr id="0" name=""/>
        <dsp:cNvSpPr/>
      </dsp:nvSpPr>
      <dsp:spPr>
        <a:xfrm>
          <a:off x="3970253" y="1979112"/>
          <a:ext cx="122257" cy="122257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60DADE-576F-4C33-90B5-FF1973AC3C1F}">
      <dsp:nvSpPr>
        <dsp:cNvPr id="0" name=""/>
        <dsp:cNvSpPr/>
      </dsp:nvSpPr>
      <dsp:spPr>
        <a:xfrm>
          <a:off x="4590850" y="2599373"/>
          <a:ext cx="122257" cy="122257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0171E-EE6B-4C14-872A-0420119E3BB4}">
      <dsp:nvSpPr>
        <dsp:cNvPr id="0" name=""/>
        <dsp:cNvSpPr/>
      </dsp:nvSpPr>
      <dsp:spPr>
        <a:xfrm flipV="1">
          <a:off x="1583958" y="384722"/>
          <a:ext cx="1826855" cy="1191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b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 dirty="0"/>
        </a:p>
      </dsp:txBody>
      <dsp:txXfrm rot="10800000">
        <a:off x="1583958" y="384722"/>
        <a:ext cx="1826855" cy="119170"/>
      </dsp:txXfrm>
    </dsp:sp>
    <dsp:sp modelId="{474CBB40-E8D7-4B54-9129-904E6C325AC9}">
      <dsp:nvSpPr>
        <dsp:cNvPr id="0" name=""/>
        <dsp:cNvSpPr/>
      </dsp:nvSpPr>
      <dsp:spPr>
        <a:xfrm>
          <a:off x="4081350" y="1061621"/>
          <a:ext cx="3392925" cy="8973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700" kern="1200" dirty="0"/>
        </a:p>
      </dsp:txBody>
      <dsp:txXfrm>
        <a:off x="4081350" y="1061621"/>
        <a:ext cx="3392925" cy="897302"/>
      </dsp:txXfrm>
    </dsp:sp>
    <dsp:sp modelId="{4F5856C3-F97A-4855-9079-08101CD40B75}">
      <dsp:nvSpPr>
        <dsp:cNvPr id="0" name=""/>
        <dsp:cNvSpPr/>
      </dsp:nvSpPr>
      <dsp:spPr>
        <a:xfrm>
          <a:off x="812035" y="1426567"/>
          <a:ext cx="2328460" cy="14625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Bis Ende 2019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Land Berlin als Träger der Eingliederungshilfe</a:t>
          </a:r>
          <a:endParaRPr lang="de-DE" sz="1400" kern="1200" dirty="0"/>
        </a:p>
      </dsp:txBody>
      <dsp:txXfrm>
        <a:off x="812035" y="1426567"/>
        <a:ext cx="2328460" cy="1462513"/>
      </dsp:txXfrm>
    </dsp:sp>
    <dsp:sp modelId="{B35E8B86-CB15-47FB-9251-A96FF4EB0ECD}">
      <dsp:nvSpPr>
        <dsp:cNvPr id="0" name=""/>
        <dsp:cNvSpPr/>
      </dsp:nvSpPr>
      <dsp:spPr>
        <a:xfrm>
          <a:off x="5039950" y="3281884"/>
          <a:ext cx="122257" cy="122257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8AD851-BA39-4325-B1C4-DA012B921B24}">
      <dsp:nvSpPr>
        <dsp:cNvPr id="0" name=""/>
        <dsp:cNvSpPr/>
      </dsp:nvSpPr>
      <dsp:spPr>
        <a:xfrm>
          <a:off x="5406992" y="1639780"/>
          <a:ext cx="3057266" cy="17768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April - September 2018: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Entwicklung eines Konzepts für einen neuen Eingliederungshilfeträger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400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Derzeit in Abstimmung.</a:t>
          </a:r>
          <a:endParaRPr lang="de-DE" sz="1400" kern="1200" dirty="0"/>
        </a:p>
      </dsp:txBody>
      <dsp:txXfrm>
        <a:off x="5406992" y="1639780"/>
        <a:ext cx="3057266" cy="1776883"/>
      </dsp:txXfrm>
    </dsp:sp>
    <dsp:sp modelId="{E8DECE4E-94C4-433E-83EF-E06BC499F51D}">
      <dsp:nvSpPr>
        <dsp:cNvPr id="0" name=""/>
        <dsp:cNvSpPr/>
      </dsp:nvSpPr>
      <dsp:spPr>
        <a:xfrm>
          <a:off x="1305320" y="2894361"/>
          <a:ext cx="3392925" cy="8973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700" kern="1200" dirty="0"/>
        </a:p>
      </dsp:txBody>
      <dsp:txXfrm>
        <a:off x="1305320" y="2894361"/>
        <a:ext cx="3392925" cy="897302"/>
      </dsp:txXfrm>
    </dsp:sp>
    <dsp:sp modelId="{D5241466-F4A9-49BE-93A9-278BC11F7833}">
      <dsp:nvSpPr>
        <dsp:cNvPr id="0" name=""/>
        <dsp:cNvSpPr/>
      </dsp:nvSpPr>
      <dsp:spPr>
        <a:xfrm>
          <a:off x="5051202" y="4578558"/>
          <a:ext cx="3084477" cy="8973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Ziel: 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Bis 2020 neuer Träger der Eingliederungshilfe</a:t>
          </a:r>
          <a:endParaRPr lang="de-DE" sz="1400" kern="1200" dirty="0"/>
        </a:p>
      </dsp:txBody>
      <dsp:txXfrm>
        <a:off x="5051202" y="4578558"/>
        <a:ext cx="3084477" cy="8973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83152C-B83F-4D1D-81E2-7F03648C6593}">
      <dsp:nvSpPr>
        <dsp:cNvPr id="0" name=""/>
        <dsp:cNvSpPr/>
      </dsp:nvSpPr>
      <dsp:spPr>
        <a:xfrm rot="4396374">
          <a:off x="1774547" y="1039419"/>
          <a:ext cx="4509165" cy="3144580"/>
        </a:xfrm>
        <a:prstGeom prst="swooshArrow">
          <a:avLst>
            <a:gd name="adj1" fmla="val 16310"/>
            <a:gd name="adj2" fmla="val 313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8BA7DD-52DA-43B2-AAD0-6B5D4A0E1F25}">
      <dsp:nvSpPr>
        <dsp:cNvPr id="0" name=""/>
        <dsp:cNvSpPr/>
      </dsp:nvSpPr>
      <dsp:spPr>
        <a:xfrm>
          <a:off x="3311432" y="1349731"/>
          <a:ext cx="113870" cy="113870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8C7D64-E904-4F7F-86AA-1F11A5566D6D}">
      <dsp:nvSpPr>
        <dsp:cNvPr id="0" name=""/>
        <dsp:cNvSpPr/>
      </dsp:nvSpPr>
      <dsp:spPr>
        <a:xfrm>
          <a:off x="3954383" y="1843344"/>
          <a:ext cx="113870" cy="113870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60DADE-576F-4C33-90B5-FF1973AC3C1F}">
      <dsp:nvSpPr>
        <dsp:cNvPr id="0" name=""/>
        <dsp:cNvSpPr/>
      </dsp:nvSpPr>
      <dsp:spPr>
        <a:xfrm>
          <a:off x="4532407" y="2421055"/>
          <a:ext cx="113870" cy="113870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40171E-EE6B-4C14-872A-0420119E3BB4}">
      <dsp:nvSpPr>
        <dsp:cNvPr id="0" name=""/>
        <dsp:cNvSpPr/>
      </dsp:nvSpPr>
      <dsp:spPr>
        <a:xfrm flipV="1">
          <a:off x="1684466" y="362375"/>
          <a:ext cx="1701532" cy="1109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b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700" kern="1200" dirty="0"/>
        </a:p>
      </dsp:txBody>
      <dsp:txXfrm rot="10800000">
        <a:off x="1684466" y="362375"/>
        <a:ext cx="1701532" cy="110995"/>
      </dsp:txXfrm>
    </dsp:sp>
    <dsp:sp modelId="{474CBB40-E8D7-4B54-9129-904E6C325AC9}">
      <dsp:nvSpPr>
        <dsp:cNvPr id="0" name=""/>
        <dsp:cNvSpPr/>
      </dsp:nvSpPr>
      <dsp:spPr>
        <a:xfrm>
          <a:off x="4057859" y="988793"/>
          <a:ext cx="3160169" cy="8357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310" tIns="67310" rIns="67310" bIns="67310" numCol="1" spcCol="1270" anchor="ctr" anchorCtr="0">
          <a:noAutofit/>
        </a:bodyPr>
        <a:lstStyle/>
        <a:p>
          <a:pPr lvl="0" algn="l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300" kern="1200" dirty="0"/>
        </a:p>
      </dsp:txBody>
      <dsp:txXfrm>
        <a:off x="4057859" y="988793"/>
        <a:ext cx="3160169" cy="835747"/>
      </dsp:txXfrm>
    </dsp:sp>
    <dsp:sp modelId="{4F5856C3-F97A-4855-9079-08101CD40B75}">
      <dsp:nvSpPr>
        <dsp:cNvPr id="0" name=""/>
        <dsp:cNvSpPr/>
      </dsp:nvSpPr>
      <dsp:spPr>
        <a:xfrm>
          <a:off x="1012820" y="1328704"/>
          <a:ext cx="2168726" cy="1362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Ende 2017: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Beginn der RV-Verhandlungen unter Federführung der Senatsverwaltung für Integration, Arbeit und Soziales von Berlin </a:t>
          </a:r>
          <a:endParaRPr lang="de-DE" sz="1400" kern="1200" dirty="0"/>
        </a:p>
      </dsp:txBody>
      <dsp:txXfrm>
        <a:off x="1012820" y="1328704"/>
        <a:ext cx="2168726" cy="1362184"/>
      </dsp:txXfrm>
    </dsp:sp>
    <dsp:sp modelId="{B35E8B86-CB15-47FB-9251-A96FF4EB0ECD}">
      <dsp:nvSpPr>
        <dsp:cNvPr id="0" name=""/>
        <dsp:cNvSpPr/>
      </dsp:nvSpPr>
      <dsp:spPr>
        <a:xfrm>
          <a:off x="4950698" y="3056745"/>
          <a:ext cx="113870" cy="113870"/>
        </a:xfrm>
        <a:prstGeom prst="ellipse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8AD851-BA39-4325-B1C4-DA012B921B24}">
      <dsp:nvSpPr>
        <dsp:cNvPr id="0" name=""/>
        <dsp:cNvSpPr/>
      </dsp:nvSpPr>
      <dsp:spPr>
        <a:xfrm>
          <a:off x="5292561" y="1527290"/>
          <a:ext cx="2847537" cy="16549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Juli /  August 2018: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Beschluss und Aufforderung zu RV-Verhandlungen gemäß § 131 Abs. 4 SGB IX durch Berliner Senat</a:t>
          </a:r>
          <a:endParaRPr lang="de-DE" sz="1400" kern="1200" dirty="0"/>
        </a:p>
      </dsp:txBody>
      <dsp:txXfrm>
        <a:off x="5292561" y="1527290"/>
        <a:ext cx="2847537" cy="1654988"/>
      </dsp:txXfrm>
    </dsp:sp>
    <dsp:sp modelId="{E8DECE4E-94C4-433E-83EF-E06BC499F51D}">
      <dsp:nvSpPr>
        <dsp:cNvPr id="0" name=""/>
        <dsp:cNvSpPr/>
      </dsp:nvSpPr>
      <dsp:spPr>
        <a:xfrm>
          <a:off x="1472266" y="2695807"/>
          <a:ext cx="3160169" cy="8357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310" tIns="67310" rIns="67310" bIns="67310" numCol="1" spcCol="1270" anchor="ctr" anchorCtr="0">
          <a:noAutofit/>
        </a:bodyPr>
        <a:lstStyle/>
        <a:p>
          <a:pPr lvl="0" algn="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300" kern="1200" dirty="0"/>
        </a:p>
      </dsp:txBody>
      <dsp:txXfrm>
        <a:off x="1472266" y="2695807"/>
        <a:ext cx="3160169" cy="835747"/>
      </dsp:txXfrm>
    </dsp:sp>
    <dsp:sp modelId="{D5241466-F4A9-49BE-93A9-278BC11F7833}">
      <dsp:nvSpPr>
        <dsp:cNvPr id="0" name=""/>
        <dsp:cNvSpPr/>
      </dsp:nvSpPr>
      <dsp:spPr>
        <a:xfrm>
          <a:off x="4961179" y="4264466"/>
          <a:ext cx="2872881" cy="83574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u="sng" kern="1200" dirty="0" smtClean="0"/>
            <a:t>Ziel: 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Bis erstes Quartal 2019 Abschluss des neuen BRV</a:t>
          </a:r>
          <a:endParaRPr lang="de-DE" sz="1400" kern="1200" dirty="0"/>
        </a:p>
      </dsp:txBody>
      <dsp:txXfrm>
        <a:off x="4961179" y="4264466"/>
        <a:ext cx="2872881" cy="83574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A8A25D-51E1-4D9F-B8EB-0547408642D1}">
      <dsp:nvSpPr>
        <dsp:cNvPr id="0" name=""/>
        <dsp:cNvSpPr/>
      </dsp:nvSpPr>
      <dsp:spPr>
        <a:xfrm>
          <a:off x="2006969" y="287"/>
          <a:ext cx="2184071" cy="1092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Entwerfen neuer Formulierungen in einer Arbeitsgruppe </a:t>
          </a:r>
          <a:endParaRPr lang="de-DE" sz="1700" kern="1200" dirty="0"/>
        </a:p>
      </dsp:txBody>
      <dsp:txXfrm>
        <a:off x="2038954" y="32272"/>
        <a:ext cx="2120101" cy="1028065"/>
      </dsp:txXfrm>
    </dsp:sp>
    <dsp:sp modelId="{204D120E-697D-4271-837E-56DD75531914}">
      <dsp:nvSpPr>
        <dsp:cNvPr id="0" name=""/>
        <dsp:cNvSpPr/>
      </dsp:nvSpPr>
      <dsp:spPr>
        <a:xfrm>
          <a:off x="2225376" y="1092323"/>
          <a:ext cx="218407" cy="8190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19026"/>
              </a:lnTo>
              <a:lnTo>
                <a:pt x="218407" y="81902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809654-8A61-4277-83EF-23FA1AC6A31D}">
      <dsp:nvSpPr>
        <dsp:cNvPr id="0" name=""/>
        <dsp:cNvSpPr/>
      </dsp:nvSpPr>
      <dsp:spPr>
        <a:xfrm>
          <a:off x="2443784" y="1365332"/>
          <a:ext cx="1747257" cy="10920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Unterarbeitsgruppe „Leistung“</a:t>
          </a:r>
          <a:endParaRPr lang="de-DE" sz="1400" kern="1200" dirty="0"/>
        </a:p>
      </dsp:txBody>
      <dsp:txXfrm>
        <a:off x="2475769" y="1397317"/>
        <a:ext cx="1683287" cy="1028065"/>
      </dsp:txXfrm>
    </dsp:sp>
    <dsp:sp modelId="{F21A18B2-2E33-4B6F-B57B-4A75BB464D89}">
      <dsp:nvSpPr>
        <dsp:cNvPr id="0" name=""/>
        <dsp:cNvSpPr/>
      </dsp:nvSpPr>
      <dsp:spPr>
        <a:xfrm>
          <a:off x="2225376" y="1092323"/>
          <a:ext cx="218407" cy="21840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4071"/>
              </a:lnTo>
              <a:lnTo>
                <a:pt x="218407" y="218407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2AE743-A455-45E3-80D8-54D0BC45E419}">
      <dsp:nvSpPr>
        <dsp:cNvPr id="0" name=""/>
        <dsp:cNvSpPr/>
      </dsp:nvSpPr>
      <dsp:spPr>
        <a:xfrm>
          <a:off x="2443784" y="2730376"/>
          <a:ext cx="1747257" cy="10920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Unterarbeitsgruppe „Vergütung“</a:t>
          </a:r>
          <a:endParaRPr lang="de-DE" sz="1400" kern="1200" dirty="0"/>
        </a:p>
      </dsp:txBody>
      <dsp:txXfrm>
        <a:off x="2475769" y="2762361"/>
        <a:ext cx="1683287" cy="1028065"/>
      </dsp:txXfrm>
    </dsp:sp>
    <dsp:sp modelId="{9EB5DE93-2B29-468C-80DE-6380A4B4FD08}">
      <dsp:nvSpPr>
        <dsp:cNvPr id="0" name=""/>
        <dsp:cNvSpPr/>
      </dsp:nvSpPr>
      <dsp:spPr>
        <a:xfrm>
          <a:off x="4737058" y="287"/>
          <a:ext cx="2184071" cy="10920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kern="1200" dirty="0" smtClean="0"/>
            <a:t>Mitwirkung der Interessenvertretung der Menschen mit Behinderungen</a:t>
          </a:r>
          <a:endParaRPr lang="de-DE" sz="1700" kern="1200" dirty="0"/>
        </a:p>
      </dsp:txBody>
      <dsp:txXfrm>
        <a:off x="4769043" y="32272"/>
        <a:ext cx="2120101" cy="1028065"/>
      </dsp:txXfrm>
    </dsp:sp>
    <dsp:sp modelId="{A1741F1D-C25F-49DC-B25A-D09C7AB6ED61}">
      <dsp:nvSpPr>
        <dsp:cNvPr id="0" name=""/>
        <dsp:cNvSpPr/>
      </dsp:nvSpPr>
      <dsp:spPr>
        <a:xfrm>
          <a:off x="4955466" y="1092323"/>
          <a:ext cx="218407" cy="81902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19026"/>
              </a:lnTo>
              <a:lnTo>
                <a:pt x="218407" y="81902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50F479-AE7A-44D5-846C-E34848D2B4C8}">
      <dsp:nvSpPr>
        <dsp:cNvPr id="0" name=""/>
        <dsp:cNvSpPr/>
      </dsp:nvSpPr>
      <dsp:spPr>
        <a:xfrm>
          <a:off x="5173873" y="1365332"/>
          <a:ext cx="1747257" cy="10920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Landesbeauftragte für Menschen mit Behinderung</a:t>
          </a:r>
          <a:endParaRPr lang="de-DE" sz="1400" kern="1200" dirty="0"/>
        </a:p>
      </dsp:txBody>
      <dsp:txXfrm>
        <a:off x="5205858" y="1397317"/>
        <a:ext cx="1683287" cy="1028065"/>
      </dsp:txXfrm>
    </dsp:sp>
    <dsp:sp modelId="{8B66535F-D901-4093-98C3-6F7AE5608C25}">
      <dsp:nvSpPr>
        <dsp:cNvPr id="0" name=""/>
        <dsp:cNvSpPr/>
      </dsp:nvSpPr>
      <dsp:spPr>
        <a:xfrm>
          <a:off x="4955466" y="1092323"/>
          <a:ext cx="218407" cy="21840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4071"/>
              </a:lnTo>
              <a:lnTo>
                <a:pt x="218407" y="218407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3C77D0-51A6-46B2-9ECA-8DE9F8DEB0D2}">
      <dsp:nvSpPr>
        <dsp:cNvPr id="0" name=""/>
        <dsp:cNvSpPr/>
      </dsp:nvSpPr>
      <dsp:spPr>
        <a:xfrm>
          <a:off x="5173873" y="2730376"/>
          <a:ext cx="1747257" cy="109203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eine weitere vom Landesbeirat für Menschen mit Behinderung benannte Person </a:t>
          </a:r>
          <a:endParaRPr lang="de-DE" sz="1400" kern="1200" dirty="0"/>
        </a:p>
      </dsp:txBody>
      <dsp:txXfrm>
        <a:off x="5205858" y="2762361"/>
        <a:ext cx="1683287" cy="102806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A8A25D-51E1-4D9F-B8EB-0547408642D1}">
      <dsp:nvSpPr>
        <dsp:cNvPr id="0" name=""/>
        <dsp:cNvSpPr/>
      </dsp:nvSpPr>
      <dsp:spPr>
        <a:xfrm>
          <a:off x="2938320" y="1926"/>
          <a:ext cx="1412648" cy="7063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Teilhabe am Arbeitsleben</a:t>
          </a:r>
          <a:endParaRPr lang="de-DE" sz="1800" kern="1200" dirty="0"/>
        </a:p>
      </dsp:txBody>
      <dsp:txXfrm>
        <a:off x="2959008" y="22614"/>
        <a:ext cx="1371272" cy="664948"/>
      </dsp:txXfrm>
    </dsp:sp>
    <dsp:sp modelId="{204D120E-697D-4271-837E-56DD75531914}">
      <dsp:nvSpPr>
        <dsp:cNvPr id="0" name=""/>
        <dsp:cNvSpPr/>
      </dsp:nvSpPr>
      <dsp:spPr>
        <a:xfrm>
          <a:off x="3079585" y="708250"/>
          <a:ext cx="141264" cy="5297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9743"/>
              </a:lnTo>
              <a:lnTo>
                <a:pt x="141264" y="529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9809654-8A61-4277-83EF-23FA1AC6A31D}">
      <dsp:nvSpPr>
        <dsp:cNvPr id="0" name=""/>
        <dsp:cNvSpPr/>
      </dsp:nvSpPr>
      <dsp:spPr>
        <a:xfrm>
          <a:off x="3220849" y="884831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err="1" smtClean="0"/>
            <a:t>WfbM</a:t>
          </a:r>
          <a:endParaRPr lang="de-DE" sz="1200" kern="1200" dirty="0"/>
        </a:p>
      </dsp:txBody>
      <dsp:txXfrm>
        <a:off x="3241537" y="905519"/>
        <a:ext cx="1088742" cy="664948"/>
      </dsp:txXfrm>
    </dsp:sp>
    <dsp:sp modelId="{F21A18B2-2E33-4B6F-B57B-4A75BB464D89}">
      <dsp:nvSpPr>
        <dsp:cNvPr id="0" name=""/>
        <dsp:cNvSpPr/>
      </dsp:nvSpPr>
      <dsp:spPr>
        <a:xfrm>
          <a:off x="3079585" y="708250"/>
          <a:ext cx="141264" cy="1412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12648"/>
              </a:lnTo>
              <a:lnTo>
                <a:pt x="141264" y="141264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2AE743-A455-45E3-80D8-54D0BC45E419}">
      <dsp:nvSpPr>
        <dsp:cNvPr id="0" name=""/>
        <dsp:cNvSpPr/>
      </dsp:nvSpPr>
      <dsp:spPr>
        <a:xfrm>
          <a:off x="3220849" y="1767737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andere </a:t>
          </a:r>
          <a:r>
            <a:rPr lang="de-DE" sz="1200" kern="1200" dirty="0" err="1" smtClean="0"/>
            <a:t>Leistungsan</a:t>
          </a:r>
          <a:r>
            <a:rPr lang="de-DE" sz="1200" kern="1200" dirty="0" smtClean="0"/>
            <a:t>-bieter </a:t>
          </a:r>
          <a:endParaRPr lang="de-DE" sz="1200" kern="1200" dirty="0"/>
        </a:p>
      </dsp:txBody>
      <dsp:txXfrm>
        <a:off x="3241537" y="1788425"/>
        <a:ext cx="1088742" cy="664948"/>
      </dsp:txXfrm>
    </dsp:sp>
    <dsp:sp modelId="{9EB5DE93-2B29-468C-80DE-6380A4B4FD08}">
      <dsp:nvSpPr>
        <dsp:cNvPr id="0" name=""/>
        <dsp:cNvSpPr/>
      </dsp:nvSpPr>
      <dsp:spPr>
        <a:xfrm>
          <a:off x="4704131" y="1926"/>
          <a:ext cx="1412648" cy="70632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22860" rIns="3429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Soziale Teilhabe</a:t>
          </a:r>
          <a:endParaRPr lang="de-DE" sz="1800" kern="1200" dirty="0"/>
        </a:p>
      </dsp:txBody>
      <dsp:txXfrm>
        <a:off x="4724819" y="22614"/>
        <a:ext cx="1371272" cy="664948"/>
      </dsp:txXfrm>
    </dsp:sp>
    <dsp:sp modelId="{A1741F1D-C25F-49DC-B25A-D09C7AB6ED61}">
      <dsp:nvSpPr>
        <dsp:cNvPr id="0" name=""/>
        <dsp:cNvSpPr/>
      </dsp:nvSpPr>
      <dsp:spPr>
        <a:xfrm>
          <a:off x="4845395" y="708250"/>
          <a:ext cx="141264" cy="5297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9743"/>
              </a:lnTo>
              <a:lnTo>
                <a:pt x="141264" y="52974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50F479-AE7A-44D5-846C-E34848D2B4C8}">
      <dsp:nvSpPr>
        <dsp:cNvPr id="0" name=""/>
        <dsp:cNvSpPr/>
      </dsp:nvSpPr>
      <dsp:spPr>
        <a:xfrm>
          <a:off x="4986660" y="884831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Assistenz-leistungen</a:t>
          </a:r>
          <a:endParaRPr lang="de-DE" sz="1200" kern="1200" dirty="0"/>
        </a:p>
      </dsp:txBody>
      <dsp:txXfrm>
        <a:off x="5007348" y="905519"/>
        <a:ext cx="1088742" cy="664948"/>
      </dsp:txXfrm>
    </dsp:sp>
    <dsp:sp modelId="{8B66535F-D901-4093-98C3-6F7AE5608C25}">
      <dsp:nvSpPr>
        <dsp:cNvPr id="0" name=""/>
        <dsp:cNvSpPr/>
      </dsp:nvSpPr>
      <dsp:spPr>
        <a:xfrm>
          <a:off x="4845395" y="708250"/>
          <a:ext cx="141264" cy="14126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12648"/>
              </a:lnTo>
              <a:lnTo>
                <a:pt x="141264" y="141264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3C77D0-51A6-46B2-9ECA-8DE9F8DEB0D2}">
      <dsp:nvSpPr>
        <dsp:cNvPr id="0" name=""/>
        <dsp:cNvSpPr/>
      </dsp:nvSpPr>
      <dsp:spPr>
        <a:xfrm>
          <a:off x="4986660" y="1767737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Erwerb und Erhalt praktischer Fähigkeiten</a:t>
          </a:r>
          <a:endParaRPr lang="de-DE" sz="1200" kern="1200" dirty="0"/>
        </a:p>
      </dsp:txBody>
      <dsp:txXfrm>
        <a:off x="5007348" y="1788425"/>
        <a:ext cx="1088742" cy="664948"/>
      </dsp:txXfrm>
    </dsp:sp>
    <dsp:sp modelId="{5E4F828A-1498-415E-9142-C5A48E7ADCBF}">
      <dsp:nvSpPr>
        <dsp:cNvPr id="0" name=""/>
        <dsp:cNvSpPr/>
      </dsp:nvSpPr>
      <dsp:spPr>
        <a:xfrm>
          <a:off x="4845395" y="708250"/>
          <a:ext cx="141264" cy="22955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95554"/>
              </a:lnTo>
              <a:lnTo>
                <a:pt x="141264" y="229555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C7C40F-C3CE-4A1D-900E-25233EE13776}">
      <dsp:nvSpPr>
        <dsp:cNvPr id="0" name=""/>
        <dsp:cNvSpPr/>
      </dsp:nvSpPr>
      <dsp:spPr>
        <a:xfrm>
          <a:off x="4986660" y="2650642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Wohnraum</a:t>
          </a:r>
          <a:endParaRPr lang="de-DE" sz="1200" kern="1200" dirty="0"/>
        </a:p>
      </dsp:txBody>
      <dsp:txXfrm>
        <a:off x="5007348" y="2671330"/>
        <a:ext cx="1088742" cy="664948"/>
      </dsp:txXfrm>
    </dsp:sp>
    <dsp:sp modelId="{F80B4009-960E-4589-B28D-EDCF591D82BD}">
      <dsp:nvSpPr>
        <dsp:cNvPr id="0" name=""/>
        <dsp:cNvSpPr/>
      </dsp:nvSpPr>
      <dsp:spPr>
        <a:xfrm>
          <a:off x="4845395" y="708250"/>
          <a:ext cx="141264" cy="317845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78459"/>
              </a:lnTo>
              <a:lnTo>
                <a:pt x="141264" y="317845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DA0817C-C75E-4C4C-AD99-96C9E4790847}">
      <dsp:nvSpPr>
        <dsp:cNvPr id="0" name=""/>
        <dsp:cNvSpPr/>
      </dsp:nvSpPr>
      <dsp:spPr>
        <a:xfrm>
          <a:off x="4986660" y="3533548"/>
          <a:ext cx="1130118" cy="7063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200" kern="1200" dirty="0" smtClean="0"/>
            <a:t>Mobilität</a:t>
          </a:r>
          <a:endParaRPr lang="de-DE" sz="1200" kern="1200" dirty="0"/>
        </a:p>
      </dsp:txBody>
      <dsp:txXfrm>
        <a:off x="5007348" y="3554236"/>
        <a:ext cx="1088742" cy="6649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8A34ED-F1D9-4EF8-AD3A-9C047F2D0520}">
      <dsp:nvSpPr>
        <dsp:cNvPr id="0" name=""/>
        <dsp:cNvSpPr/>
      </dsp:nvSpPr>
      <dsp:spPr>
        <a:xfrm rot="5400000">
          <a:off x="4847553" y="-1657318"/>
          <a:ext cx="1600780" cy="531571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000" kern="1200" dirty="0" smtClean="0"/>
            <a:t>nahezu </a:t>
          </a:r>
          <a:r>
            <a:rPr lang="de-DE" sz="2000" kern="1200" dirty="0" smtClean="0"/>
            <a:t>geeint, anlasslose Prüfungen sollen landesrechtlich ermöglicht werden (Aufrechterhaltung </a:t>
          </a:r>
          <a:r>
            <a:rPr lang="de-DE" sz="2000" kern="1200" dirty="0" err="1" smtClean="0"/>
            <a:t>status</a:t>
          </a:r>
          <a:r>
            <a:rPr lang="de-DE" sz="2000" kern="1200" dirty="0" smtClean="0"/>
            <a:t> quo)</a:t>
          </a:r>
          <a:endParaRPr lang="de-DE" sz="2000" kern="1200" dirty="0"/>
        </a:p>
      </dsp:txBody>
      <dsp:txXfrm rot="-5400000">
        <a:off x="2990087" y="278292"/>
        <a:ext cx="5237568" cy="1444492"/>
      </dsp:txXfrm>
    </dsp:sp>
    <dsp:sp modelId="{93800488-29DC-4E7A-AA0A-B45C6C74539B}">
      <dsp:nvSpPr>
        <dsp:cNvPr id="0" name=""/>
        <dsp:cNvSpPr/>
      </dsp:nvSpPr>
      <dsp:spPr>
        <a:xfrm>
          <a:off x="0" y="50"/>
          <a:ext cx="2990088" cy="20009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b="1" kern="1200" dirty="0" smtClean="0">
              <a:solidFill>
                <a:schemeClr val="bg1"/>
              </a:solidFill>
            </a:rPr>
            <a:t>Maßstäbe für Wirtschaftlichkeit und Qualität sowie deren Überprüfung</a:t>
          </a:r>
          <a:endParaRPr lang="de-DE" sz="2300" kern="1200" dirty="0"/>
        </a:p>
      </dsp:txBody>
      <dsp:txXfrm>
        <a:off x="97680" y="97730"/>
        <a:ext cx="2794728" cy="1805615"/>
      </dsp:txXfrm>
    </dsp:sp>
    <dsp:sp modelId="{5D24B6E5-839D-4908-AF37-B2B965B463C4}">
      <dsp:nvSpPr>
        <dsp:cNvPr id="0" name=""/>
        <dsp:cNvSpPr/>
      </dsp:nvSpPr>
      <dsp:spPr>
        <a:xfrm rot="5400000">
          <a:off x="4847553" y="443706"/>
          <a:ext cx="1600780" cy="531571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000" kern="1200" dirty="0" smtClean="0">
              <a:solidFill>
                <a:schemeClr val="tx1"/>
              </a:solidFill>
            </a:rPr>
            <a:t>Entwurf der Verbände </a:t>
          </a:r>
          <a:r>
            <a:rPr lang="de-DE" sz="2000" kern="1200" dirty="0" smtClean="0">
              <a:solidFill>
                <a:schemeClr val="tx1"/>
              </a:solidFill>
            </a:rPr>
            <a:t>vor </a:t>
          </a:r>
          <a:r>
            <a:rPr lang="de-DE" sz="2000" kern="1200" dirty="0" smtClean="0">
              <a:solidFill>
                <a:schemeClr val="tx1"/>
              </a:solidFill>
            </a:rPr>
            <a:t>und wird derzeit verhandelt</a:t>
          </a:r>
          <a:endParaRPr lang="de-DE" sz="20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de-DE" sz="1200" kern="1200" dirty="0"/>
        </a:p>
      </dsp:txBody>
      <dsp:txXfrm rot="-5400000">
        <a:off x="2990087" y="2379316"/>
        <a:ext cx="5237568" cy="1444492"/>
      </dsp:txXfrm>
    </dsp:sp>
    <dsp:sp modelId="{6DDFE4FC-8852-4417-9031-7DDB775CC2EE}">
      <dsp:nvSpPr>
        <dsp:cNvPr id="0" name=""/>
        <dsp:cNvSpPr/>
      </dsp:nvSpPr>
      <dsp:spPr>
        <a:xfrm>
          <a:off x="0" y="2101074"/>
          <a:ext cx="2990088" cy="20009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b="1" kern="1200" dirty="0" smtClean="0">
              <a:solidFill>
                <a:schemeClr val="bg1"/>
              </a:solidFill>
            </a:rPr>
            <a:t>Verfahren zum Abschluss von Vereinbarungen</a:t>
          </a:r>
          <a:endParaRPr lang="de-DE" sz="2300" kern="1200" dirty="0">
            <a:solidFill>
              <a:schemeClr val="bg1"/>
            </a:solidFill>
          </a:endParaRPr>
        </a:p>
      </dsp:txBody>
      <dsp:txXfrm>
        <a:off x="97680" y="2198754"/>
        <a:ext cx="2794728" cy="18056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DescendingProcess">
  <dgm:title val=""/>
  <dgm:desc val=""/>
  <dgm:catLst>
    <dgm:cat type="process" pri="23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clrData>
  <dgm:layoutNode name="Name0">
    <dgm:varLst>
      <dgm:chMax val="7"/>
      <dgm:chPref val="5"/>
    </dgm:varLst>
    <dgm:alg type="composite">
      <dgm:param type="ar" val="1.1"/>
    </dgm:alg>
    <dgm:shape xmlns:r="http://schemas.openxmlformats.org/officeDocument/2006/relationships" r:blip="">
      <dgm:adjLst/>
    </dgm:shape>
    <dgm:choose name="Name1">
      <dgm:if name="Name2" axis="ch" ptType="node" func="cnt" op="equ" val="1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</dgm:constrLst>
      </dgm:if>
      <dgm:if name="Name3" axis="ch" ptType="node" func="cnt" op="equ" val="2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"/>
          <dgm:constr type="b" for="ch" forName="txNode2" refType="h"/>
          <dgm:constr type="r" for="ch" forName="txNode2" refType="w"/>
          <dgm:constr type="h" for="ch" forName="txNode2" refType="h" fact="0.16"/>
        </dgm:constrLst>
      </dgm:if>
      <dgm:if name="Name4" axis="ch" ptType="node" func="cnt" op="equ" val="3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56"/>
          <dgm:constr type="ctrY" for="ch" forName="txNode2" refType="h" fact="0.3992"/>
          <dgm:constr type="r" for="ch" forName="txNode2" refType="w"/>
          <dgm:constr type="h" for="ch" forName="txNode2" refType="h" fact="0.16"/>
          <dgm:constr type="l" for="ch" forName="txNode3" refType="w" fact="0.5"/>
          <dgm:constr type="b" for="ch" forName="txNode3" refType="h"/>
          <dgm:constr type="r" for="ch" forName="txNode3" refType="w"/>
          <dgm:constr type="h" for="ch" forName="txNode3" refType="h" fact="0.16"/>
          <dgm:constr type="ctrX" for="ch" forName="dotNode2" refType="w" fact="0.4782"/>
          <dgm:constr type="ctrY" for="ch" forName="dotNode2" refType="h" fact="0.3992"/>
          <dgm:constr type="h" for="ch" forName="dotNode2" refType="h" fact="0.0218"/>
          <dgm:constr type="w" for="ch" forName="dotNode2" refType="h" refFor="ch" refForName="dotNode2"/>
        </dgm:constrLst>
      </dgm:if>
      <dgm:if name="Name5" axis="ch" ptType="node" func="cnt" op="equ" val="4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9"/>
          <dgm:constr type="ctrY" for="ch" forName="txNode2" refType="h" fact="0.315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5004"/>
          <dgm:constr type="r" for="ch" forName="txNode3" refType="w" fact="0.5"/>
          <dgm:constr type="h" for="ch" forName="txNode3" refType="h" fact="0.16"/>
          <dgm:constr type="l" for="ch" forName="txNode4" refType="w" fact="0.5"/>
          <dgm:constr type="b" for="ch" forName="txNode4" refType="h"/>
          <dgm:constr type="r" for="ch" forName="txNode4" refType="w"/>
          <dgm:constr type="h" for="ch" forName="txNode4" refType="h" fact="0.16"/>
          <dgm:constr type="ctrX" for="ch" forName="dotNode2" refType="w" fact="0.39"/>
          <dgm:constr type="ctrY" for="ch" forName="dotNode2" refType="h" fact="0.315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5626"/>
          <dgm:constr type="ctrY" for="ch" forName="dotNode3" refType="h" fact="0.5004"/>
          <dgm:constr type="h" for="ch" forName="dotNode3" refType="h" fact="0.0218"/>
          <dgm:constr type="w" for="ch" forName="dotNode3" refType="h" refFor="ch" refForName="dotNode3"/>
        </dgm:constrLst>
      </dgm:if>
      <dgm:if name="Name6" axis="ch" ptType="node" func="cnt" op="equ" val="5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6"/>
          <dgm:constr type="ctrY" for="ch" forName="txNode2" refType="h" fact="0.2885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4089"/>
          <dgm:constr type="r" for="ch" forName="txNode3" refType="w" fact="0.43"/>
          <dgm:constr type="h" for="ch" forName="txNode3" refType="h" fact="0.16"/>
          <dgm:constr type="l" for="ch" forName="txNode4" refType="w" fact="0.67"/>
          <dgm:constr type="ctrY" for="ch" forName="txNode4" refType="h" fact="0.5497"/>
          <dgm:constr type="r" for="ch" forName="txNode4" refType="w"/>
          <dgm:constr type="h" for="ch" forName="txNode4" refType="h" fact="0.16"/>
          <dgm:constr type="l" for="ch" forName="txNode5" refType="w" fact="0.5"/>
          <dgm:constr type="b" for="ch" forName="txNode5" refType="h"/>
          <dgm:constr type="r" for="ch" forName="txNode5" refType="w"/>
          <dgm:constr type="h" for="ch" forName="txNode5" refType="h" fact="0.16"/>
          <dgm:constr type="ctrX" for="ch" forName="dotNode2" refType="w" fact="0.3565"/>
          <dgm:constr type="ctrY" for="ch" forName="dotNode2" refType="h" fact="0.2885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922"/>
          <dgm:constr type="ctrY" for="ch" forName="dotNode3" refType="h" fact="0.4089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939"/>
          <dgm:constr type="ctrY" for="ch" forName="dotNode4" refType="h" fact="0.5497"/>
          <dgm:constr type="h" for="ch" forName="dotNode4" refType="h" fact="0.0218"/>
          <dgm:constr type="w" for="ch" forName="dotNode4" refType="h" refFor="ch" refForName="dotNode4"/>
        </dgm:constrLst>
      </dgm:if>
      <dgm:if name="Name7" axis="ch" ptType="node" func="cnt" op="equ" val="6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5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638"/>
          <dgm:constr type="r" for="ch" forName="txNode3" refType="w" fact="0.37"/>
          <dgm:constr type="h" for="ch" forName="txNode3" refType="h" fact="0.16"/>
          <dgm:constr type="l" for="ch" forName="txNode4" refType="w" fact="0.63"/>
          <dgm:constr type="ctrY" for="ch" forName="txNode4" refType="h" fact="0.4744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961"/>
          <dgm:constr type="r" for="ch" forName="txNode5" refType="w" fact="0.55"/>
          <dgm:constr type="h" for="ch" forName="txNode5" refType="h" fact="0.16"/>
          <dgm:constr type="l" for="ch" forName="txNode6" refType="w" fact="0.5"/>
          <dgm:constr type="b" for="ch" forName="txNode6" refType="h"/>
          <dgm:constr type="r" for="ch" forName="txNode6" refType="w"/>
          <dgm:constr type="h" for="ch" forName="txNode6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419"/>
          <dgm:constr type="ctrY" for="ch" forName="dotNode3" refType="h" fact="0.3638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425"/>
          <dgm:constr type="ctrY" for="ch" forName="dotNode4" refType="h" fact="0.4744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6153"/>
          <dgm:constr type="ctrY" for="ch" forName="dotNode5" refType="h" fact="0.5961"/>
          <dgm:constr type="h" for="ch" forName="dotNode5" refType="h" fact="0.0218"/>
          <dgm:constr type="w" for="ch" forName="dotNode5" refType="h" refFor="ch" refForName="dotNode5"/>
        </dgm:constrLst>
      </dgm:if>
      <dgm:else name="Name8">
        <dgm:constrLst>
          <dgm:constr type="primFontSz" for="ch" ptType="node" op="equ" val="65"/>
          <dgm:constr type="w" for="ch" forName="arrowNode" refType="w" fact="0.75"/>
          <dgm:constr type="h" for="ch" forName="arrowNode" refType="h"/>
          <dgm:constr type="l" for="ch" forName="arrowNode" refType="w" fact="0.07"/>
          <dgm:constr type="t" for="ch" forName="arrowNode"/>
          <dgm:constr type="l" for="ch" forName="txNode1" refType="w" fact="0"/>
          <dgm:constr type="t" for="ch" forName="txNode1" refType="h" fact="0"/>
          <dgm:constr type="r" for="ch" forName="txNode1" refType="w" fact="0.37"/>
          <dgm:constr type="h" for="ch" forName="txNode1" refType="h" fact="0.16"/>
          <dgm:constr type="l" for="ch" forName="txNode2" refType="w" fact="0.44"/>
          <dgm:constr type="ctrY" for="ch" forName="txNode2" refType="h" fact="0.2693"/>
          <dgm:constr type="r" for="ch" forName="txNode2" refType="w"/>
          <dgm:constr type="h" for="ch" forName="txNode2" refType="h" fact="0.16"/>
          <dgm:constr type="l" for="ch" forName="txNode3" refType="w" fact="0"/>
          <dgm:constr type="ctrY" for="ch" forName="txNode3" refType="h" fact="0.3424"/>
          <dgm:constr type="r" for="ch" forName="txNode3" refType="w" fact="0.33"/>
          <dgm:constr type="h" for="ch" forName="txNode3" refType="h" fact="0.16"/>
          <dgm:constr type="l" for="ch" forName="txNode4" refType="w" fact="0.61"/>
          <dgm:constr type="ctrY" for="ch" forName="txNode4" refType="h" fact="0.4276"/>
          <dgm:constr type="r" for="ch" forName="txNode4" refType="w"/>
          <dgm:constr type="h" for="ch" forName="txNode4" refType="h" fact="0.16"/>
          <dgm:constr type="l" for="ch" forName="txNode5" refType="w" fact="0"/>
          <dgm:constr type="ctrY" for="ch" forName="txNode5" refType="h" fact="0.5218"/>
          <dgm:constr type="r" for="ch" forName="txNode5" refType="w" fact="0.5"/>
          <dgm:constr type="h" for="ch" forName="txNode5" refType="h" fact="0.16"/>
          <dgm:constr type="l" for="ch" forName="txNode6" refType="w" fact="0.71"/>
          <dgm:constr type="ctrY" for="ch" forName="txNode6" refType="h" fact="0.6179"/>
          <dgm:constr type="r" for="ch" forName="txNode6" refType="w"/>
          <dgm:constr type="h" for="ch" forName="txNode6" refType="h" fact="0.16"/>
          <dgm:constr type="l" for="ch" forName="txNode7" refType="w" fact="0.5"/>
          <dgm:constr type="b" for="ch" forName="txNode7" refType="h"/>
          <dgm:constr type="r" for="ch" forName="txNode7" refType="w"/>
          <dgm:constr type="h" for="ch" forName="txNode7" refType="h" fact="0.16"/>
          <dgm:constr type="ctrX" for="ch" forName="dotNode2" refType="w" fact="0.33"/>
          <dgm:constr type="ctrY" for="ch" forName="dotNode2" refType="h" fact="0.2693"/>
          <dgm:constr type="h" for="ch" forName="dotNode2" refType="h" fact="0.0218"/>
          <dgm:constr type="w" for="ch" forName="dotNode2" refType="h" refFor="ch" refForName="dotNode2"/>
          <dgm:constr type="ctrX" for="ch" forName="dotNode3" refType="w" fact="0.425"/>
          <dgm:constr type="ctrY" for="ch" forName="dotNode3" refType="h" fact="0.3424"/>
          <dgm:constr type="h" for="ch" forName="dotNode3" refType="h" fact="0.0218"/>
          <dgm:constr type="w" for="ch" forName="dotNode3" refType="h" refFor="ch" refForName="dotNode3"/>
          <dgm:constr type="ctrX" for="ch" forName="dotNode4" refType="w" fact="0.505"/>
          <dgm:constr type="ctrY" for="ch" forName="dotNode4" refType="h" fact="0.4276"/>
          <dgm:constr type="h" for="ch" forName="dotNode4" refType="h" fact="0.0218"/>
          <dgm:constr type="w" for="ch" forName="dotNode4" refType="h" refFor="ch" refForName="dotNode4"/>
          <dgm:constr type="ctrX" for="ch" forName="dotNode5" refType="w" fact="0.5742"/>
          <dgm:constr type="ctrY" for="ch" forName="dotNode5" refType="h" fact="0.5218"/>
          <dgm:constr type="h" for="ch" forName="dotNode5" refType="h" fact="0.0218"/>
          <dgm:constr type="w" for="ch" forName="dotNode5" refType="h" refFor="ch" refForName="dotNode5"/>
          <dgm:constr type="ctrX" for="ch" forName="dotNode6" refType="w" fact="0.63"/>
          <dgm:constr type="ctrY" for="ch" forName="dotNode6" refType="h" fact="0.6179"/>
          <dgm:constr type="h" for="ch" forName="dotNode6" refType="h" fact="0.0218"/>
          <dgm:constr type="w" for="ch" forName="dotNode6" refType="h" refFor="ch" refForName="dotNode6"/>
        </dgm:constrLst>
      </dgm:else>
    </dgm:choose>
    <dgm:forEach name="Name9" axis="self" ptType="parTrans">
      <dgm:forEach name="Name10" axis="self" ptType="sibTrans" st="2">
        <dgm:forEach name="dotRepeat" axis="self">
          <dgm:layoutNode name="dotRepeatNode" styleLbl="fgShp">
            <dgm:alg type="sp"/>
            <dgm:shape xmlns:r="http://schemas.openxmlformats.org/officeDocument/2006/relationships" type="ellipse" r:blip="">
              <dgm:adjLst/>
            </dgm:shape>
            <dgm:presOf axis="self"/>
          </dgm:layoutNode>
        </dgm:forEach>
      </dgm:forEach>
    </dgm:forEach>
    <dgm:choose name="Name11">
      <dgm:if name="Name12" axis="ch" ptType="node" func="cnt" op="gte" val="1">
        <dgm:layoutNode name="arrowNode" styleLbl="node1">
          <dgm:alg type="sp"/>
          <dgm:shape xmlns:r="http://schemas.openxmlformats.org/officeDocument/2006/relationships" rot="73.2729" type="swooshArrow" r:blip="">
            <dgm:adjLst>
              <dgm:adj idx="1" val="0.1631"/>
              <dgm:adj idx="2" val="0.3137"/>
            </dgm:adjLst>
          </dgm:shape>
          <dgm:presOf/>
        </dgm:layoutNode>
      </dgm:if>
      <dgm:else name="Name13"/>
    </dgm:choose>
    <dgm:forEach name="Name14" axis="ch" ptType="node" cnt="1">
      <dgm:layoutNode name="txNode1" styleLbl="revTx">
        <dgm:varLst>
          <dgm:bulletEnabled val="1"/>
        </dgm:varLst>
        <dgm:alg type="tx">
          <dgm:param type="txAnchorVert" val="b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15" axis="ch" ptType="node" st="2" cnt="1">
      <dgm:layoutNode name="txNode2" styleLbl="revTx">
        <dgm:varLst>
          <dgm:bulletEnabled val="1"/>
        </dgm:varLst>
        <dgm:choose name="Name16">
          <dgm:if name="Name17" axis="self" ptType="node" func="revPos" op="equ" val="1">
            <dgm:alg type="tx">
              <dgm:param type="txAnchorVert" val="t"/>
            </dgm:alg>
          </dgm:if>
          <dgm:if name="Name18" axis="self" ptType="node" func="posOdd" op="equ" val="1">
            <dgm:alg type="tx">
              <dgm:param type="parTxLTRAlign" val="r"/>
              <dgm:param type="parTxRTLAlign" val="r"/>
            </dgm:alg>
          </dgm:if>
          <dgm:else name="Name1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20">
        <dgm:if name="Name21" axis="par ch" ptType="all node" func="cnt" op="neq" val="2">
          <dgm:forEach name="Name22" axis="follow" ptType="sibTrans" cnt="1">
            <dgm:layoutNode name="dotNode2">
              <dgm:alg type="sp"/>
              <dgm:shape xmlns:r="http://schemas.openxmlformats.org/officeDocument/2006/relationships" r:blip="">
                <dgm:adjLst/>
              </dgm:shape>
              <dgm:presOf/>
              <dgm:forEach name="Name23" ref="dotRepeat"/>
            </dgm:layoutNode>
          </dgm:forEach>
        </dgm:if>
        <dgm:else name="Name24"/>
      </dgm:choose>
    </dgm:forEach>
    <dgm:forEach name="Name25" axis="ch" ptType="node" st="3" cnt="1">
      <dgm:layoutNode name="txNode3" styleLbl="revTx">
        <dgm:varLst>
          <dgm:bulletEnabled val="1"/>
        </dgm:varLst>
        <dgm:choose name="Name26">
          <dgm:if name="Name27" axis="self" ptType="node" func="revPos" op="equ" val="1">
            <dgm:alg type="tx">
              <dgm:param type="txAnchorVert" val="t"/>
            </dgm:alg>
          </dgm:if>
          <dgm:if name="Name28" axis="self" ptType="node" func="posOdd" op="equ" val="1">
            <dgm:alg type="tx">
              <dgm:param type="parTxLTRAlign" val="r"/>
              <dgm:param type="parTxRTLAlign" val="r"/>
            </dgm:alg>
          </dgm:if>
          <dgm:else name="Name2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30">
        <dgm:if name="Name31" axis="par ch" ptType="all node" func="cnt" op="neq" val="3">
          <dgm:forEach name="Name32" axis="follow" ptType="sibTrans" cnt="1">
            <dgm:layoutNode name="dotNode3">
              <dgm:alg type="sp"/>
              <dgm:shape xmlns:r="http://schemas.openxmlformats.org/officeDocument/2006/relationships" r:blip="">
                <dgm:adjLst/>
              </dgm:shape>
              <dgm:presOf/>
              <dgm:forEach name="Name33" ref="dotRepeat"/>
            </dgm:layoutNode>
          </dgm:forEach>
        </dgm:if>
        <dgm:else name="Name34"/>
      </dgm:choose>
    </dgm:forEach>
    <dgm:forEach name="Name35" axis="ch" ptType="node" st="4" cnt="1">
      <dgm:layoutNode name="txNode4" styleLbl="revTx">
        <dgm:varLst>
          <dgm:bulletEnabled val="1"/>
        </dgm:varLst>
        <dgm:choose name="Name36">
          <dgm:if name="Name37" axis="self" ptType="node" func="revPos" op="equ" val="1">
            <dgm:alg type="tx">
              <dgm:param type="txAnchorVert" val="t"/>
            </dgm:alg>
          </dgm:if>
          <dgm:if name="Name38" axis="self" ptType="node" func="posOdd" op="equ" val="1">
            <dgm:alg type="tx">
              <dgm:param type="parTxLTRAlign" val="r"/>
              <dgm:param type="parTxRTLAlign" val="r"/>
            </dgm:alg>
          </dgm:if>
          <dgm:else name="Name3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40">
        <dgm:if name="Name41" axis="par ch" ptType="all node" func="cnt" op="neq" val="4">
          <dgm:forEach name="Name42" axis="follow" ptType="sibTrans" cnt="1">
            <dgm:layoutNode name="dotNode4">
              <dgm:alg type="sp"/>
              <dgm:shape xmlns:r="http://schemas.openxmlformats.org/officeDocument/2006/relationships" r:blip="">
                <dgm:adjLst/>
              </dgm:shape>
              <dgm:presOf/>
              <dgm:forEach name="Name43" ref="dotRepeat"/>
            </dgm:layoutNode>
          </dgm:forEach>
        </dgm:if>
        <dgm:else name="Name44"/>
      </dgm:choose>
    </dgm:forEach>
    <dgm:forEach name="Name45" axis="ch" ptType="node" st="5" cnt="1">
      <dgm:layoutNode name="txNode5" styleLbl="revTx">
        <dgm:varLst>
          <dgm:bulletEnabled val="1"/>
        </dgm:varLst>
        <dgm:choose name="Name46">
          <dgm:if name="Name47" axis="self" ptType="node" func="revPos" op="equ" val="1">
            <dgm:alg type="tx">
              <dgm:param type="txAnchorVert" val="t"/>
            </dgm:alg>
          </dgm:if>
          <dgm:if name="Name48" axis="self" ptType="node" func="posOdd" op="equ" val="1">
            <dgm:alg type="tx">
              <dgm:param type="parTxLTRAlign" val="r"/>
              <dgm:param type="parTxRTLAlign" val="r"/>
            </dgm:alg>
          </dgm:if>
          <dgm:else name="Name4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50">
        <dgm:if name="Name51" axis="par ch" ptType="all node" func="cnt" op="neq" val="5">
          <dgm:forEach name="Name52" axis="follow" ptType="sibTrans" cnt="1">
            <dgm:layoutNode name="dotNode5">
              <dgm:alg type="sp"/>
              <dgm:shape xmlns:r="http://schemas.openxmlformats.org/officeDocument/2006/relationships" r:blip="">
                <dgm:adjLst/>
              </dgm:shape>
              <dgm:presOf/>
              <dgm:forEach name="Name53" ref="dotRepeat"/>
            </dgm:layoutNode>
          </dgm:forEach>
        </dgm:if>
        <dgm:else name="Name54"/>
      </dgm:choose>
    </dgm:forEach>
    <dgm:forEach name="Name55" axis="ch" ptType="node" st="6" cnt="1">
      <dgm:layoutNode name="txNode6" styleLbl="revTx">
        <dgm:varLst>
          <dgm:bulletEnabled val="1"/>
        </dgm:varLst>
        <dgm:choose name="Name56">
          <dgm:if name="Name57" axis="self" ptType="node" func="revPos" op="equ" val="1">
            <dgm:alg type="tx">
              <dgm:param type="txAnchorVert" val="t"/>
            </dgm:alg>
          </dgm:if>
          <dgm:if name="Name58" axis="self" ptType="node" func="posOdd" op="equ" val="1">
            <dgm:alg type="tx">
              <dgm:param type="parTxLTRAlign" val="r"/>
              <dgm:param type="parTxRTLAlign" val="r"/>
            </dgm:alg>
          </dgm:if>
          <dgm:else name="Name59">
            <dgm:alg type="tx">
              <dgm:param type="parTxLTRAlign" val="l"/>
              <dgm:param type="parTxRTLAlign" val="l"/>
            </dgm:alg>
          </dgm:else>
        </dgm:choose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60">
        <dgm:if name="Name61" axis="par ch" ptType="all node" func="cnt" op="neq" val="6">
          <dgm:forEach name="Name62" axis="follow" ptType="sibTrans" cnt="1">
            <dgm:layoutNode name="dotNode6">
              <dgm:alg type="sp"/>
              <dgm:shape xmlns:r="http://schemas.openxmlformats.org/officeDocument/2006/relationships" r:blip="">
                <dgm:adjLst/>
              </dgm:shape>
              <dgm:presOf/>
              <dgm:forEach name="Name63" ref="dotRepeat"/>
            </dgm:layoutNode>
          </dgm:forEach>
        </dgm:if>
        <dgm:else name="Name64"/>
      </dgm:choose>
    </dgm:forEach>
    <dgm:forEach name="Name65" axis="ch" ptType="node" st="7" cnt="1">
      <dgm:layoutNode name="txNode7" styleLbl="revTx">
        <dgm:varLst>
          <dgm:bulletEnabled val="1"/>
        </dgm:varLst>
        <dgm:alg type="tx">
          <dgm:param type="txAnchorVert" val="t"/>
        </dgm:alg>
        <dgm:shape xmlns:r="http://schemas.openxmlformats.org/officeDocument/2006/relationships" type="rect" r:blip="" zOrderOff="10">
          <dgm:adjLst/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2F6B90-F604-45F4-9680-A2D23C04D32F}" type="datetimeFigureOut">
              <a:rPr lang="de-DE" smtClean="0"/>
              <a:t>04.12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C90AC8-5F75-4275-B8F5-DDC2BE65AD0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09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D3B1CD33-3F79-4F15-A26C-85D00A68E1B1}" type="datetimeFigureOut">
              <a:rPr lang="en-US"/>
              <a:pPr>
                <a:defRPr/>
              </a:pPr>
              <a:t>12/4/2018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15710"/>
            <a:ext cx="5438775" cy="4466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56B8ED5B-E024-493C-91B2-315749719AEB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0411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6B8ED5B-E024-493C-91B2-315749719AEB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617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6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6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7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248990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2273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4288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5139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3263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885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8033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1579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7997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2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5" y="1697047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2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8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35251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215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14806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254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7782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0031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5600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0232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348841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18198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78769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141993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827404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12889"/>
            <a:ext cx="8299938" cy="4597400"/>
          </a:xfrm>
        </p:spPr>
        <p:txBody>
          <a:bodyPr/>
          <a:lstStyle/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4593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22031" y="1512888"/>
            <a:ext cx="8299938" cy="4597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93407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8191726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012472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16929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55008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4124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796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91407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2369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033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252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527863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6400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6240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57377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79091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788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47702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57260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60285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49923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4717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38169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2582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79584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6162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596744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2374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50177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9783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47740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1475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8253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212287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87795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1596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9610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95497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7933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2615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21591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97587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8037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0233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40716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129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1224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89403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21834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79807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72691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23418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7997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37338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698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51427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95833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8991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36173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434904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0179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44081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36597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0494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99452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43908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2108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47747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64500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40574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96075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35040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29522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09855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715344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0838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6182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14566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53843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83016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56190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7"/>
          <p:cNvSpPr>
            <a:spLocks noGrp="1"/>
          </p:cNvSpPr>
          <p:nvPr>
            <p:ph type="pic" sz="quarter" idx="13"/>
          </p:nvPr>
        </p:nvSpPr>
        <p:spPr>
          <a:xfrm>
            <a:off x="214313" y="1268413"/>
            <a:ext cx="8728075" cy="4992687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76000" y="2275200"/>
            <a:ext cx="3941859" cy="1046380"/>
          </a:xfrm>
        </p:spPr>
        <p:txBody>
          <a:bodyPr/>
          <a:lstStyle>
            <a:lvl1pPr>
              <a:defRPr sz="2400">
                <a:solidFill>
                  <a:srgbClr val="E2002D"/>
                </a:solidFill>
              </a:defRPr>
            </a:lvl1pPr>
          </a:lstStyle>
          <a:p>
            <a:r>
              <a:rPr lang="de-DE" smtClean="0"/>
              <a:t>Haupttitel Calibri Bold 24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1850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140889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06804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91340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58833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18083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422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370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3042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99618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50651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1509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13599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2" y="169704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9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527922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6963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31701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5915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14964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1553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71151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349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37240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789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8236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942321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2509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4316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94028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15641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862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50154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27086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7405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2871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21906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3394560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328929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12889"/>
            <a:ext cx="8299938" cy="4597400"/>
          </a:xfrm>
        </p:spPr>
        <p:txBody>
          <a:bodyPr/>
          <a:lstStyle/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715509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8673993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99230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19041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  <a:prstGeom prst="rect">
            <a:avLst/>
          </a:prstGeo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88467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75570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6649481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73052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12889"/>
            <a:ext cx="8299938" cy="4597400"/>
          </a:xfrm>
        </p:spPr>
        <p:txBody>
          <a:bodyPr/>
          <a:lstStyle/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53683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85980982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825632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008409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  <a:prstGeom prst="rect">
            <a:avLst/>
          </a:prstGeo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352788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673964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010052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12889"/>
            <a:ext cx="8299938" cy="4597400"/>
          </a:xfrm>
        </p:spPr>
        <p:txBody>
          <a:bodyPr/>
          <a:lstStyle/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042824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9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58996494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2095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15614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908612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856928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099745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7527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19304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58191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087012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9008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80727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7865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21079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5285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4203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34031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422031" y="1512888"/>
            <a:ext cx="8299938" cy="4597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933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67066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1168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2070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7133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8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3" y="1697048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0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84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94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566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40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822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06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210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91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46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96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35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8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3" y="1697048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0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32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77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57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74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86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93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07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22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33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1354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01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8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3" y="1697048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0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48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666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160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1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84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422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54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50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955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1393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68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12584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316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956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6457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026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4880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209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4173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67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5967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1839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83272" y="1878916"/>
            <a:ext cx="7577457" cy="421438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700"/>
              </a:lnSpc>
              <a:spcBef>
                <a:spcPts val="0"/>
              </a:spcBef>
              <a:buNone/>
              <a:defRPr sz="1800" b="0" i="0">
                <a:solidFill>
                  <a:srgbClr val="000000"/>
                </a:solidFill>
                <a:latin typeface="SPD TheSans Regular"/>
                <a:cs typeface="SPD TheSans Regular"/>
              </a:defRPr>
            </a:lvl1pPr>
            <a:lvl2pPr marL="0" indent="0" algn="l">
              <a:lnSpc>
                <a:spcPts val="2500"/>
              </a:lnSpc>
              <a:spcBef>
                <a:spcPts val="0"/>
              </a:spcBef>
              <a:buClr>
                <a:srgbClr val="FF0000"/>
              </a:buClr>
              <a:buFont typeface="Wingdings" charset="2"/>
              <a:buNone/>
              <a:defRPr sz="1800" b="0" i="0">
                <a:solidFill>
                  <a:srgbClr val="000000"/>
                </a:solidFill>
                <a:latin typeface="TheSans LP5 Plain"/>
                <a:cs typeface="TheSans LP5 Plain"/>
              </a:defRPr>
            </a:lvl2pPr>
            <a:lvl3pPr marL="0" indent="269875" algn="l">
              <a:lnSpc>
                <a:spcPts val="2500"/>
              </a:lnSpc>
              <a:spcBef>
                <a:spcPts val="0"/>
              </a:spcBef>
              <a:buClr>
                <a:srgbClr val="FF0000"/>
              </a:buClr>
              <a:buFont typeface="Wingdings" charset="2"/>
              <a:buChar char="§"/>
              <a:defRPr sz="1800" b="0" i="0">
                <a:solidFill>
                  <a:srgbClr val="000000"/>
                </a:solidFill>
                <a:latin typeface="TheSans LP5 Plain"/>
                <a:cs typeface="TheSans LP5 Plain"/>
              </a:defRPr>
            </a:lvl3pPr>
            <a:lvl4pPr marL="0" indent="269875" algn="l">
              <a:lnSpc>
                <a:spcPts val="2500"/>
              </a:lnSpc>
              <a:spcBef>
                <a:spcPts val="0"/>
              </a:spcBef>
              <a:buClr>
                <a:srgbClr val="FF0000"/>
              </a:buClr>
              <a:buFont typeface="Wingdings" charset="2"/>
              <a:buChar char="§"/>
              <a:defRPr sz="1800" b="0" i="0">
                <a:solidFill>
                  <a:srgbClr val="000000"/>
                </a:solidFill>
                <a:latin typeface="TheSans LP5 Plain"/>
                <a:cs typeface="TheSans LP5 Plain"/>
              </a:defRPr>
            </a:lvl4pPr>
            <a:lvl5pPr marL="0" indent="269875" algn="l">
              <a:lnSpc>
                <a:spcPts val="2500"/>
              </a:lnSpc>
              <a:spcBef>
                <a:spcPts val="0"/>
              </a:spcBef>
              <a:buClr>
                <a:srgbClr val="FF0000"/>
              </a:buClr>
              <a:buFont typeface="Wingdings" charset="2"/>
              <a:buChar char="§"/>
              <a:defRPr sz="2100" b="0" i="0">
                <a:solidFill>
                  <a:srgbClr val="000000"/>
                </a:solidFill>
                <a:latin typeface="TheSans LP5 Plain"/>
                <a:cs typeface="TheSans LP5 Plai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Titel 28"/>
          <p:cNvSpPr>
            <a:spLocks noGrp="1"/>
          </p:cNvSpPr>
          <p:nvPr>
            <p:ph type="title"/>
          </p:nvPr>
        </p:nvSpPr>
        <p:spPr>
          <a:xfrm>
            <a:off x="784469" y="879830"/>
            <a:ext cx="7775666" cy="422920"/>
          </a:xfrm>
          <a:prstGeom prst="rect">
            <a:avLst/>
          </a:prstGeom>
        </p:spPr>
        <p:txBody>
          <a:bodyPr vert="horz"/>
          <a:lstStyle>
            <a:lvl1pPr>
              <a:defRPr sz="2400" b="0" i="0">
                <a:latin typeface="SPD TheSans Versal ExtraBold"/>
                <a:cs typeface="SPD TheSans Versal ExtraBold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7" name="Textplatzhalter 45"/>
          <p:cNvSpPr>
            <a:spLocks noGrp="1"/>
          </p:cNvSpPr>
          <p:nvPr>
            <p:ph type="body" sz="quarter" idx="13"/>
          </p:nvPr>
        </p:nvSpPr>
        <p:spPr>
          <a:xfrm>
            <a:off x="783272" y="1231574"/>
            <a:ext cx="7755762" cy="503237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2400" b="0" i="1">
                <a:latin typeface="SPD TheSans Versal Italic"/>
                <a:cs typeface="SPD TheSans Versal Italic"/>
              </a:defRPr>
            </a:lvl1pPr>
            <a:lvl2pPr marL="457200" indent="0">
              <a:buFontTx/>
              <a:buNone/>
              <a:defRPr sz="2400" b="0" i="1">
                <a:latin typeface="TheSans LP5 Plain"/>
                <a:cs typeface="TheSans LP5 Plain"/>
              </a:defRPr>
            </a:lvl2pPr>
            <a:lvl3pPr marL="914400" indent="0">
              <a:buFontTx/>
              <a:buNone/>
              <a:defRPr sz="2400" b="0" i="1">
                <a:latin typeface="TheSans LP5 Plain"/>
                <a:cs typeface="TheSans LP5 Plain"/>
              </a:defRPr>
            </a:lvl3pPr>
            <a:lvl4pPr marL="1371600" indent="0">
              <a:buFontTx/>
              <a:buNone/>
              <a:defRPr sz="2400" b="0" i="1">
                <a:latin typeface="TheSans LP5 Plain"/>
                <a:cs typeface="TheSans LP5 Plain"/>
              </a:defRPr>
            </a:lvl4pPr>
            <a:lvl5pPr marL="1828800" indent="0">
              <a:buFontTx/>
              <a:buNone/>
              <a:defRPr sz="2400" b="0" i="1">
                <a:latin typeface="TheSans LP5 Plain"/>
                <a:cs typeface="TheSans LP5 Plain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Foliennummernplatzhalter 1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935B063A-4554-48E6-B1D4-402CECD7BAF2}" type="slidenum">
              <a:rPr lang="de-DE" altLang="de-DE">
                <a:solidFill>
                  <a:srgbClr val="000000"/>
                </a:solidFill>
              </a:rPr>
              <a:pPr/>
              <a:t>‹Nr.›</a:t>
            </a:fld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8" name="Datumsplatzhalter 16"/>
          <p:cNvSpPr>
            <a:spLocks noGrp="1"/>
          </p:cNvSpPr>
          <p:nvPr>
            <p:ph type="dt" sz="half" idx="15"/>
          </p:nvPr>
        </p:nvSpPr>
        <p:spPr>
          <a:xfrm>
            <a:off x="783987" y="6243638"/>
            <a:ext cx="1062403" cy="3413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02785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733" name="Picture 33" descr="Joblinge_Markenzeichen_g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304800"/>
            <a:ext cx="4572000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1652577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3212147"/>
              </p:ext>
            </p:ext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12889"/>
            <a:ext cx="8299938" cy="4597400"/>
          </a:xfrm>
        </p:spPr>
        <p:txBody>
          <a:bodyPr/>
          <a:lstStyle/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  <a:p>
            <a:pPr lvl="1"/>
            <a:r>
              <a:rPr lang="de-DE" dirty="0" smtClean="0"/>
              <a:t>Secon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2"/>
            <a:r>
              <a:rPr lang="de-DE" dirty="0" smtClean="0"/>
              <a:t>Third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3"/>
            <a:r>
              <a:rPr lang="de-DE" dirty="0" err="1" smtClean="0"/>
              <a:t>Four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4"/>
            <a:r>
              <a:rPr lang="de-DE" dirty="0" err="1" smtClean="0"/>
              <a:t>Fifth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847439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22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</a:t>
            </a:r>
            <a:r>
              <a:rPr lang="de-DE" dirty="0" err="1" smtClean="0"/>
              <a:t>text</a:t>
            </a:r>
            <a:r>
              <a:rPr lang="de-DE" dirty="0" smtClean="0"/>
              <a:t> </a:t>
            </a:r>
            <a:r>
              <a:rPr lang="de-DE" dirty="0" err="1" smtClean="0"/>
              <a:t>styl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4458404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ick to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2131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75350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64"/>
            <a:ext cx="2133600" cy="365125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>
              <a:spcAft>
                <a:spcPct val="0"/>
              </a:spcAft>
              <a:buFontTx/>
              <a:buNone/>
            </a:pPr>
            <a:fld id="{CD583C2D-5F6A-405B-A562-7B4312DD4CF2}" type="slidenum">
              <a:rPr lang="de-DE" smtClean="0">
                <a:solidFill>
                  <a:srgbClr val="000000"/>
                </a:solidFill>
                <a:latin typeface="Arial"/>
              </a:rPr>
              <a:pPr>
                <a:spcAft>
                  <a:spcPct val="0"/>
                </a:spcAft>
                <a:buFontTx/>
                <a:buNone/>
              </a:pPr>
              <a:t>‹Nr.›</a:t>
            </a:fld>
            <a:endParaRPr lang="de-DE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87188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4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1" y="1697044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8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51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21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450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49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8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06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90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34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88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1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2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44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1" y="1697044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78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10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0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7666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220788" y="2880000"/>
            <a:ext cx="3275012" cy="3456000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8400" y="2879999"/>
            <a:ext cx="3276000" cy="3456000"/>
          </a:xfrm>
        </p:spPr>
        <p:txBody>
          <a:bodyPr/>
          <a:lstStyle>
            <a:lvl1pPr>
              <a:buFont typeface="Arial" pitchFamily="34" charset="0"/>
              <a:buChar char="•"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F75FAA-F150-49E6-9566-581B0A4C2F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8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206000" y="2887620"/>
            <a:ext cx="3276000" cy="639762"/>
          </a:xfrm>
        </p:spPr>
        <p:txBody>
          <a:bodyPr/>
          <a:lstStyle>
            <a:lvl1pPr marL="0" indent="0">
              <a:lnSpc>
                <a:spcPts val="2600"/>
              </a:lnSpc>
              <a:buNone/>
              <a:defRPr sz="2200" b="1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220788" y="3690000"/>
            <a:ext cx="32766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2887620"/>
            <a:ext cx="3276000" cy="639762"/>
          </a:xfrm>
        </p:spPr>
        <p:txBody>
          <a:bodyPr/>
          <a:lstStyle>
            <a:lvl1pPr marL="0" indent="0">
              <a:buNone/>
              <a:defRPr sz="2200" b="1" i="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58400" y="3690000"/>
            <a:ext cx="3276000" cy="2664000"/>
          </a:xfr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A5BBF-08A1-4670-BBDD-5C0DB5857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78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DB6B38-55D1-46FC-BF58-1817F751393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53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75B3BD-EBD8-4092-B66F-0EC25A99DB2A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681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hoch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24192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3794400" y="2879090"/>
            <a:ext cx="4137208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1647-15D0-46EA-A08F-6BAACCCD88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83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quer mit Überschrif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4140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5511600" y="2879090"/>
            <a:ext cx="2436060" cy="347599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5038-E9B9-4319-AA3D-E57FD29FF68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106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728000"/>
            <a:ext cx="6732000" cy="1080000"/>
          </a:xfrm>
        </p:spPr>
        <p:txBody>
          <a:bodyPr/>
          <a:lstStyle>
            <a:lvl1pPr algn="l">
              <a:defRPr sz="2600" b="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2940050"/>
            <a:ext cx="6732000" cy="34020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A2170-8CDE-446D-AF6F-54D3740DE373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965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Bildunt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206000" y="1813560"/>
            <a:ext cx="6732000" cy="3992400"/>
          </a:xfrm>
        </p:spPr>
        <p:txBody>
          <a:bodyPr rtlCol="0">
            <a:noAutofit/>
          </a:bodyPr>
          <a:lstStyle>
            <a:lvl1pPr marL="0" indent="0"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0" name="Inhaltsplatzhalter 2"/>
          <p:cNvSpPr>
            <a:spLocks noGrp="1"/>
          </p:cNvSpPr>
          <p:nvPr>
            <p:ph idx="13"/>
          </p:nvPr>
        </p:nvSpPr>
        <p:spPr>
          <a:xfrm>
            <a:off x="1206000" y="5882640"/>
            <a:ext cx="6732000" cy="472440"/>
          </a:xfrm>
        </p:spPr>
        <p:txBody>
          <a:bodyPr/>
          <a:lstStyle>
            <a:lvl1pPr>
              <a:buNone/>
              <a:defRPr sz="1800"/>
            </a:lvl1pPr>
            <a:lvl2pPr>
              <a:defRPr sz="1800"/>
            </a:lvl2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6AA085-6A32-4DFD-ACA4-0CA480E35A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71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20788" y="6510356"/>
            <a:ext cx="6729412" cy="263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5602" name="Titelplatzhalter 1"/>
          <p:cNvSpPr>
            <a:spLocks noGrp="1"/>
          </p:cNvSpPr>
          <p:nvPr>
            <p:ph type="ctrTitle"/>
          </p:nvPr>
        </p:nvSpPr>
        <p:spPr>
          <a:xfrm>
            <a:off x="1220797" y="1697051"/>
            <a:ext cx="7197725" cy="1169987"/>
          </a:xfrm>
        </p:spPr>
        <p:txBody>
          <a:bodyPr anchor="b"/>
          <a:lstStyle>
            <a:lvl1pPr>
              <a:defRPr sz="3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5603" name="Textplatzhalter 2"/>
          <p:cNvSpPr>
            <a:spLocks noGrp="1"/>
          </p:cNvSpPr>
          <p:nvPr>
            <p:ph type="subTitle" idx="1" hasCustomPrompt="1"/>
          </p:nvPr>
        </p:nvSpPr>
        <p:spPr>
          <a:xfrm>
            <a:off x="1220787" y="3575050"/>
            <a:ext cx="4610670" cy="2446188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/>
              <a:defRPr sz="1800" baseline="0" smtClean="0">
                <a:solidFill>
                  <a:srgbClr val="828282"/>
                </a:solidFill>
              </a:defRPr>
            </a:lvl1pPr>
          </a:lstStyle>
          <a:p>
            <a:r>
              <a:rPr lang="de-DE" dirty="0" smtClean="0"/>
              <a:t>Hier kann ein Textfeld mit Informationen z. B. zum Vortragenden, Referat/Arbeitsgruppe oder Anlass der Präsentation etc. hinzugefügt werden</a:t>
            </a:r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70884" y="6508750"/>
            <a:ext cx="542925" cy="261938"/>
          </a:xfrm>
        </p:spPr>
        <p:txBody>
          <a:bodyPr/>
          <a:lstStyle>
            <a:lvl1pPr algn="r">
              <a:defRPr sz="12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AE51BD1-D898-4B7B-90C4-E1AC5F1B5B7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211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D431CE-8981-4CA0-A200-02EA34FDEB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168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theme" Target="../theme/theme10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theme" Target="../theme/theme12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20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theme" Target="../theme/theme14.xml"/><Relationship Id="rId5" Type="http://schemas.openxmlformats.org/officeDocument/2006/relationships/slideLayout" Target="../slideLayouts/slideLayout122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21.xml"/><Relationship Id="rId9" Type="http://schemas.openxmlformats.org/officeDocument/2006/relationships/oleObject" Target="../embeddings/oleObject5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theme" Target="../theme/theme17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theme" Target="../theme/theme19.xml"/><Relationship Id="rId5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79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73.xml"/><Relationship Id="rId6" Type="http://schemas.openxmlformats.org/officeDocument/2006/relationships/slideLayout" Target="../slideLayouts/slideLayout178.xml"/><Relationship Id="rId11" Type="http://schemas.openxmlformats.org/officeDocument/2006/relationships/theme" Target="../theme/theme20.xml"/><Relationship Id="rId5" Type="http://schemas.openxmlformats.org/officeDocument/2006/relationships/slideLayout" Target="../slideLayouts/slideLayout177.xml"/><Relationship Id="rId10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76.xml"/><Relationship Id="rId9" Type="http://schemas.openxmlformats.org/officeDocument/2006/relationships/slideLayout" Target="../slideLayouts/slideLayout181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0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theme" Target="../theme/theme22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6.xml"/><Relationship Id="rId7" Type="http://schemas.openxmlformats.org/officeDocument/2006/relationships/slideLayout" Target="../slideLayouts/slideLayout210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theme" Target="../theme/theme23.xml"/><Relationship Id="rId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theme" Target="../theme/theme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3" Type="http://schemas.openxmlformats.org/officeDocument/2006/relationships/slideLayout" Target="../slideLayouts/slideLayout226.xml"/><Relationship Id="rId7" Type="http://schemas.openxmlformats.org/officeDocument/2006/relationships/theme" Target="../theme/theme25.xml"/><Relationship Id="rId2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28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227.xml"/><Relationship Id="rId9" Type="http://schemas.openxmlformats.org/officeDocument/2006/relationships/tags" Target="../tags/tag11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3" Type="http://schemas.openxmlformats.org/officeDocument/2006/relationships/slideLayout" Target="../slideLayouts/slideLayout232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34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33.xml"/><Relationship Id="rId9" Type="http://schemas.openxmlformats.org/officeDocument/2006/relationships/tags" Target="../tags/tag1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1.vml"/><Relationship Id="rId3" Type="http://schemas.openxmlformats.org/officeDocument/2006/relationships/slideLayout" Target="../slideLayouts/slideLayout238.xml"/><Relationship Id="rId7" Type="http://schemas.openxmlformats.org/officeDocument/2006/relationships/theme" Target="../theme/theme27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40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239.xml"/><Relationship Id="rId9" Type="http://schemas.openxmlformats.org/officeDocument/2006/relationships/tags" Target="../tags/tag15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theme" Target="../theme/theme28.xml"/><Relationship Id="rId5" Type="http://schemas.openxmlformats.org/officeDocument/2006/relationships/slideLayout" Target="../slideLayouts/slideLayout246.xml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74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76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75.xml"/><Relationship Id="rId9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3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1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3" y="6505581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1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122" y="230373"/>
            <a:ext cx="27114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 userDrawn="1"/>
        </p:nvSpPr>
        <p:spPr>
          <a:xfrm>
            <a:off x="5683255" y="233900"/>
            <a:ext cx="1667444" cy="3631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Senatsverwaltung</a:t>
            </a:r>
          </a:p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für Integration, Arbeit und Soziales</a:t>
            </a:r>
            <a:endParaRPr lang="de-DE" sz="800" b="1">
              <a:solidFill>
                <a:srgbClr val="E2003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5169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3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1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3" y="6505581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1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122" y="230373"/>
            <a:ext cx="27114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 userDrawn="1"/>
        </p:nvSpPr>
        <p:spPr>
          <a:xfrm>
            <a:off x="5683255" y="233900"/>
            <a:ext cx="1667444" cy="3631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Senatsverwaltung</a:t>
            </a:r>
          </a:p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für Integration, Arbeit und Soziales</a:t>
            </a:r>
            <a:endParaRPr lang="de-DE" sz="800" b="1">
              <a:solidFill>
                <a:srgbClr val="E2003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08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860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7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9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89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9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8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1020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66025866"/>
              </p:ext>
            </p:extLst>
          </p:nvPr>
        </p:nvGraphicFramePr>
        <p:xfrm>
          <a:off x="1472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5" name="think-cell Folie" r:id="rId9" imgW="360" imgH="360" progId="TCLayout.ActiveDocument.1">
                  <p:embed/>
                </p:oleObj>
              </mc:Choice>
              <mc:Fallback>
                <p:oleObj name="think-cell Foli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1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  <a:latin typeface="Arial"/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4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177193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5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2502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6517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4551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3083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0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3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Slide title</a:t>
            </a:r>
          </a:p>
        </p:txBody>
      </p:sp>
      <p:sp>
        <p:nvSpPr>
          <p:cNvPr id="6" name="FooterSimple"/>
          <p:cNvSpPr/>
          <p:nvPr/>
        </p:nvSpPr>
        <p:spPr>
          <a:xfrm>
            <a:off x="422040" y="6711990"/>
            <a:ext cx="1750479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ct val="0"/>
              </a:spcAft>
              <a:buFontTx/>
              <a:buNone/>
            </a:pPr>
            <a:r>
              <a:rPr lang="de-DE" sz="700" smtClean="0">
                <a:solidFill>
                  <a:srgbClr val="808080"/>
                </a:solidFill>
              </a:rPr>
              <a:t>Filialisierung_Starter Kit_MUN_FB_v18.pptx</a:t>
            </a:r>
            <a:endParaRPr lang="de-DE" sz="7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60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3341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2933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49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4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4" y="650558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  <a:cs typeface="Arial" charset="0"/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7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5334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6982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86652957"/>
              </p:ext>
            </p:extLst>
          </p:nvPr>
        </p:nvGraphicFramePr>
        <p:xfrm>
          <a:off x="1472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1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  <a:latin typeface="Arial"/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4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34220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5" r:id="rId6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28783623"/>
              </p:ext>
            </p:extLst>
          </p:nvPr>
        </p:nvGraphicFramePr>
        <p:xfrm>
          <a:off x="1472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5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1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  <a:latin typeface="Arial"/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4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221008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3" r:id="rId6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46094267"/>
              </p:ext>
            </p:extLst>
          </p:nvPr>
        </p:nvGraphicFramePr>
        <p:xfrm>
          <a:off x="1472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3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2" y="1592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1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  <a:latin typeface="Arial"/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4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56210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6747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538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0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3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Slide title</a:t>
            </a:r>
          </a:p>
        </p:txBody>
      </p:sp>
      <p:sp>
        <p:nvSpPr>
          <p:cNvPr id="6" name="FooterSimple"/>
          <p:cNvSpPr/>
          <p:nvPr/>
        </p:nvSpPr>
        <p:spPr>
          <a:xfrm>
            <a:off x="422037" y="6711990"/>
            <a:ext cx="1750479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spAutoFit/>
          </a:bodyPr>
          <a:lstStyle/>
          <a:p>
            <a:pPr>
              <a:spcAft>
                <a:spcPct val="0"/>
              </a:spcAft>
              <a:buFontTx/>
              <a:buNone/>
            </a:pPr>
            <a:r>
              <a:rPr lang="de-DE" sz="700" smtClean="0">
                <a:solidFill>
                  <a:srgbClr val="808080"/>
                </a:solidFill>
              </a:rPr>
              <a:t>Filialisierung_Starter Kit_MUN_FB_v18.pptx</a:t>
            </a:r>
            <a:endParaRPr lang="de-DE" sz="7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865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5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5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5" y="6505585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5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122" y="230377"/>
            <a:ext cx="27114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 userDrawn="1"/>
        </p:nvSpPr>
        <p:spPr>
          <a:xfrm>
            <a:off x="5683255" y="233900"/>
            <a:ext cx="1667444" cy="3631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Senatsverwaltung</a:t>
            </a:r>
          </a:p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für Integration, Arbeit und Soziales</a:t>
            </a:r>
            <a:endParaRPr lang="de-DE" sz="800" b="1">
              <a:solidFill>
                <a:srgbClr val="E2003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090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5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5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5" y="6505585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5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122" y="230377"/>
            <a:ext cx="27114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 userDrawn="1"/>
        </p:nvSpPr>
        <p:spPr>
          <a:xfrm>
            <a:off x="5683255" y="233900"/>
            <a:ext cx="1667444" cy="3631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Senatsverwaltung</a:t>
            </a:r>
          </a:p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für Integration, Arbeit und Soziales</a:t>
            </a:r>
            <a:endParaRPr lang="de-DE" sz="800" b="1">
              <a:solidFill>
                <a:srgbClr val="E2003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1291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5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35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5" y="6505585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85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6122" y="230377"/>
            <a:ext cx="271145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 userDrawn="1"/>
        </p:nvSpPr>
        <p:spPr>
          <a:xfrm>
            <a:off x="5683255" y="233900"/>
            <a:ext cx="1667444" cy="363176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Senatsverwaltung</a:t>
            </a:r>
          </a:p>
          <a:p>
            <a:pPr algn="r">
              <a:buFontTx/>
              <a:buNone/>
            </a:pPr>
            <a:r>
              <a:rPr lang="de-DE" sz="800" b="1" smtClean="0">
                <a:solidFill>
                  <a:srgbClr val="E20030"/>
                </a:solidFill>
                <a:latin typeface="Calibri" panose="020F0502020204030204" pitchFamily="34" charset="0"/>
              </a:rPr>
              <a:t>für Integration, Arbeit und Soziales</a:t>
            </a:r>
            <a:endParaRPr lang="de-DE" sz="800" b="1">
              <a:solidFill>
                <a:srgbClr val="E2003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744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1206509" y="1463675"/>
            <a:ext cx="719772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en-US" dirty="0" smtClean="0"/>
          </a:p>
        </p:txBody>
      </p:sp>
      <p:sp>
        <p:nvSpPr>
          <p:cNvPr id="1027" name="Textplatzhalter 2"/>
          <p:cNvSpPr>
            <a:spLocks noGrp="1" noChangeAspect="1"/>
          </p:cNvSpPr>
          <p:nvPr>
            <p:ph type="body" idx="1"/>
          </p:nvPr>
        </p:nvSpPr>
        <p:spPr bwMode="auto">
          <a:xfrm>
            <a:off x="1204913" y="2422543"/>
            <a:ext cx="7186612" cy="37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206506" y="6505593"/>
            <a:ext cx="6731000" cy="25241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Aft>
                <a:spcPct val="0"/>
              </a:spcAft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099425" y="6505593"/>
            <a:ext cx="698500" cy="25241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buFontTx/>
              <a:buNone/>
              <a:defRPr sz="1200" b="1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2D3F034-0D98-43AB-921C-E6F94AAF1D9D}" type="slidenum">
              <a:rPr 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832" y="230382"/>
            <a:ext cx="238203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5479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hf hdr="0" ftr="0" dt="0"/>
  <p:txStyles>
    <p:titleStyle>
      <a:lvl1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ct val="120000"/>
        </a:lnSpc>
        <a:spcBef>
          <a:spcPct val="0"/>
        </a:spcBef>
        <a:spcAft>
          <a:spcPct val="2000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8256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01700" indent="-1841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538" indent="-171450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176213" algn="l" rtl="0" eaLnBrk="1" fontAlgn="base" hangingPunct="1">
        <a:spcBef>
          <a:spcPct val="0"/>
        </a:spcBef>
        <a:spcAft>
          <a:spcPct val="20000"/>
        </a:spcAft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6336134"/>
              </p:ext>
            </p:extLst>
          </p:nvPr>
        </p:nvGraphicFramePr>
        <p:xfrm>
          <a:off x="1476" y="1600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76" y="1600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6" name="Rectangle 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22031" y="1512891"/>
            <a:ext cx="8299938" cy="4592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8491137" y="6688138"/>
            <a:ext cx="230832" cy="131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5000"/>
              </a:lnSpc>
              <a:spcAft>
                <a:spcPct val="0"/>
              </a:spcAft>
              <a:buFontTx/>
              <a:buNone/>
            </a:pPr>
            <a:fld id="{57947C93-18FC-4096-9941-B069597EE7F5}" type="slidenum">
              <a:rPr lang="de-DE" sz="900">
                <a:solidFill>
                  <a:srgbClr val="000000"/>
                </a:solidFill>
                <a:latin typeface="Arial"/>
              </a:rPr>
              <a:pPr algn="r">
                <a:lnSpc>
                  <a:spcPct val="95000"/>
                </a:lnSpc>
                <a:spcAft>
                  <a:spcPct val="0"/>
                </a:spcAft>
                <a:buFontTx/>
                <a:buNone/>
              </a:pPr>
              <a:t>‹Nr.›</a:t>
            </a:fld>
            <a:endParaRPr lang="de-DE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97" name="Rectangle 173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3514"/>
            <a:ext cx="8299938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769147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</p:sldLayoutIdLst>
  <p:hf hdr="0" ftr="0" dt="0"/>
  <p:txStyles>
    <p:titleStyle>
      <a:lvl1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6pPr>
      <a:lvl7pPr marL="9144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7pPr>
      <a:lvl8pPr marL="13716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8pPr>
      <a:lvl9pPr marL="1828800" algn="l" defTabSz="89693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88925" indent="-1746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692150" indent="-288925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  <a:cs typeface="Times New Roman" pitchFamily="18" charset="0"/>
        </a:defRPr>
      </a:lvl3pPr>
      <a:lvl4pPr marL="1111250" indent="-247650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  <a:cs typeface="Times New Roman" pitchFamily="18" charset="0"/>
        </a:defRPr>
      </a:lvl4pPr>
      <a:lvl5pPr marL="14160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5pPr>
      <a:lvl6pPr marL="18732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6pPr>
      <a:lvl7pPr marL="23304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7pPr>
      <a:lvl8pPr marL="27876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8pPr>
      <a:lvl9pPr marL="3244850" indent="-295275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–"/>
        <a:defRPr sz="1400">
          <a:solidFill>
            <a:schemeClr val="tx1"/>
          </a:solidFill>
          <a:latin typeface="+mn-lt"/>
          <a:ea typeface="+mn-ea"/>
          <a:cs typeface="Times New Roman" pitchFamily="18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422031" y="1770752"/>
            <a:ext cx="8374674" cy="8186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6938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de-DE" sz="2800" dirty="0" smtClean="0"/>
              <a:t>Fachforum </a:t>
            </a:r>
            <a:r>
              <a:rPr lang="de-DE" sz="2800" dirty="0"/>
              <a:t>2 </a:t>
            </a:r>
            <a:r>
              <a:rPr lang="de-DE" sz="2800" dirty="0" smtClean="0"/>
              <a:t>der Regionalkonferenz Ost in Berlin </a:t>
            </a:r>
          </a:p>
          <a:p>
            <a:pPr defTabSz="896938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de-DE" sz="2800" dirty="0" smtClean="0"/>
              <a:t>am 06. und 07.12.2018 </a:t>
            </a:r>
            <a:endParaRPr lang="de-DE" sz="2600" b="1" dirty="0" smtClean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22030" y="3662556"/>
            <a:ext cx="7883769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96938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de-DE" sz="2000" b="1" dirty="0" smtClean="0"/>
              <a:t>Berliner Rahmenvertrag Soziales (BRV) – aktueller Sachstand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22031" y="5268288"/>
            <a:ext cx="7316666" cy="2923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96938">
              <a:lnSpc>
                <a:spcPct val="95000"/>
              </a:lnSpc>
              <a:spcAft>
                <a:spcPct val="0"/>
              </a:spcAft>
              <a:buFontTx/>
              <a:buNone/>
            </a:pPr>
            <a:r>
              <a:rPr lang="de-DE" sz="2000" u="sng" dirty="0" smtClean="0"/>
              <a:t>Vortrag:</a:t>
            </a:r>
            <a:r>
              <a:rPr lang="de-DE" sz="2000" dirty="0" smtClean="0"/>
              <a:t> Dr. Catharina Reh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49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 smtClean="0">
                <a:solidFill>
                  <a:schemeClr val="bg1"/>
                </a:solidFill>
              </a:rPr>
              <a:t>Zeitschiene zum neuen Träger der Eingliederungshilfe</a:t>
            </a:r>
            <a:endParaRPr lang="en-US" sz="2000" b="1" kern="0" dirty="0" smtClean="0">
              <a:solidFill>
                <a:schemeClr val="bg1"/>
              </a:solidFill>
              <a:ea typeface="ＭＳ Ｐゴシック"/>
              <a:cs typeface="Arial"/>
            </a:endParaRPr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1376861362"/>
              </p:ext>
            </p:extLst>
          </p:nvPr>
        </p:nvGraphicFramePr>
        <p:xfrm>
          <a:off x="0" y="1249859"/>
          <a:ext cx="9144000" cy="56081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4550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49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 smtClean="0">
                <a:solidFill>
                  <a:schemeClr val="bg1"/>
                </a:solidFill>
              </a:rPr>
              <a:t>Zeitschiene zu den Verhandlungen zum neuen BRV</a:t>
            </a:r>
            <a:endParaRPr lang="en-US" sz="2000" b="1" kern="0" dirty="0" smtClean="0">
              <a:solidFill>
                <a:schemeClr val="bg1"/>
              </a:solidFill>
              <a:ea typeface="ＭＳ Ｐゴシック"/>
              <a:cs typeface="Arial"/>
            </a:endParaRPr>
          </a:p>
        </p:txBody>
      </p:sp>
      <p:graphicFrame>
        <p:nvGraphicFramePr>
          <p:cNvPr id="3" name="Diagramm 2"/>
          <p:cNvGraphicFramePr/>
          <p:nvPr>
            <p:extLst>
              <p:ext uri="{D42A27DB-BD31-4B8C-83A1-F6EECF244321}">
                <p14:modId xmlns:p14="http://schemas.microsoft.com/office/powerpoint/2010/main" val="1409730720"/>
              </p:ext>
            </p:extLst>
          </p:nvPr>
        </p:nvGraphicFramePr>
        <p:xfrm>
          <a:off x="114300" y="1627370"/>
          <a:ext cx="9029700" cy="52234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2620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50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 smtClean="0">
                <a:solidFill>
                  <a:schemeClr val="bg1"/>
                </a:solidFill>
              </a:rPr>
              <a:t>Erarbeitung des neuen BRV</a:t>
            </a:r>
            <a:endParaRPr lang="en-US" sz="2000" b="1" kern="0" dirty="0" smtClean="0">
              <a:solidFill>
                <a:schemeClr val="bg1"/>
              </a:solidFill>
              <a:ea typeface="ＭＳ Ｐゴシック"/>
              <a:cs typeface="Arial"/>
            </a:endParaRP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3020644103"/>
              </p:ext>
            </p:extLst>
          </p:nvPr>
        </p:nvGraphicFramePr>
        <p:xfrm>
          <a:off x="0" y="2514600"/>
          <a:ext cx="8928100" cy="3822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4291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50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>
                <a:solidFill>
                  <a:schemeClr val="bg1"/>
                </a:solidFill>
              </a:rPr>
              <a:t>N</a:t>
            </a:r>
            <a:r>
              <a:rPr lang="de-DE" sz="2000" kern="0" dirty="0" smtClean="0">
                <a:solidFill>
                  <a:schemeClr val="bg1"/>
                </a:solidFill>
              </a:rPr>
              <a:t>eue Leistungsstruktur </a:t>
            </a:r>
            <a:r>
              <a:rPr lang="de-DE" sz="2000" kern="0" dirty="0" smtClean="0">
                <a:solidFill>
                  <a:schemeClr val="bg1"/>
                </a:solidFill>
              </a:rPr>
              <a:t>– geeint</a:t>
            </a:r>
            <a:endParaRPr lang="de-DE" sz="2000" kern="0" dirty="0" smtClean="0">
              <a:solidFill>
                <a:schemeClr val="bg1"/>
              </a:solidFill>
            </a:endParaRP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030068627"/>
              </p:ext>
            </p:extLst>
          </p:nvPr>
        </p:nvGraphicFramePr>
        <p:xfrm>
          <a:off x="0" y="2616200"/>
          <a:ext cx="9055100" cy="42417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0" y="2012091"/>
            <a:ext cx="9144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de-DE" dirty="0" smtClean="0"/>
              <a:t>Keine </a:t>
            </a:r>
            <a:r>
              <a:rPr lang="de-DE" dirty="0" smtClean="0"/>
              <a:t>24 Leistungstypen </a:t>
            </a:r>
            <a:r>
              <a:rPr lang="de-DE" dirty="0" smtClean="0"/>
              <a:t>sondern 2 Leistungsgruppen</a:t>
            </a:r>
            <a:r>
              <a:rPr lang="de-DE" dirty="0" smtClean="0"/>
              <a:t>: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33400" y="5981700"/>
            <a:ext cx="271099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de-DE" sz="1000" dirty="0" smtClean="0"/>
              <a:t>vgl. Anlage </a:t>
            </a:r>
          </a:p>
          <a:p>
            <a:pPr>
              <a:buNone/>
            </a:pPr>
            <a:r>
              <a:rPr lang="de-DE" sz="1000" dirty="0" smtClean="0"/>
              <a:t>Leistungsstrukturmodell – Stand: 23.11.2018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75919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50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 smtClean="0">
                <a:solidFill>
                  <a:schemeClr val="bg1"/>
                </a:solidFill>
              </a:rPr>
              <a:t>Neue Vergütungsstruktur – Trennung Fachleistung von Existenzsicherun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0" y="2012091"/>
            <a:ext cx="9144000" cy="4136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de-DE" sz="1800" dirty="0" smtClean="0"/>
          </a:p>
          <a:p>
            <a:pPr marL="342900" indent="-342900"/>
            <a:endParaRPr lang="de-DE" sz="1800" dirty="0"/>
          </a:p>
          <a:p>
            <a:pPr marL="342900" indent="-342900"/>
            <a:r>
              <a:rPr lang="de-DE" sz="1800" dirty="0" smtClean="0"/>
              <a:t>Es </a:t>
            </a:r>
            <a:r>
              <a:rPr lang="de-DE" sz="1800" dirty="0"/>
              <a:t>werden gerade verschiedene Modelle einer neuen Vergütungsstruktur ausgearbeitet und </a:t>
            </a:r>
            <a:r>
              <a:rPr lang="de-DE" sz="1800" dirty="0" smtClean="0"/>
              <a:t>bewertet (reines Fachleistungsstundenmodell, Kombination Fachleistungsstunde mit Sockelbetrag, Hilfebedarfsgruppen)</a:t>
            </a:r>
            <a:endParaRPr lang="de-DE" sz="1800" dirty="0"/>
          </a:p>
          <a:p>
            <a:pPr marL="342900" indent="-342900"/>
            <a:endParaRPr lang="de-DE" sz="1800" dirty="0"/>
          </a:p>
          <a:p>
            <a:pPr marL="342900" indent="-342900"/>
            <a:r>
              <a:rPr lang="de-DE" sz="1800" dirty="0"/>
              <a:t>Flächenzuordnungstabelle entsprechend den Ergebnissen der </a:t>
            </a:r>
            <a:r>
              <a:rPr lang="de-DE" sz="1800" dirty="0" smtClean="0"/>
              <a:t>Arbeitsgruppe </a:t>
            </a:r>
            <a:r>
              <a:rPr lang="de-DE" sz="1800" dirty="0"/>
              <a:t>Personenzentrierung ist fast </a:t>
            </a:r>
            <a:r>
              <a:rPr lang="de-DE" sz="1800" dirty="0" smtClean="0"/>
              <a:t>geeint</a:t>
            </a:r>
            <a:endParaRPr lang="de-DE" sz="1800" dirty="0"/>
          </a:p>
          <a:p>
            <a:pPr marL="342900" indent="-342900"/>
            <a:endParaRPr lang="de-DE" sz="1800" dirty="0"/>
          </a:p>
          <a:p>
            <a:pPr marL="342900" indent="-342900"/>
            <a:r>
              <a:rPr lang="de-DE" sz="1800" dirty="0"/>
              <a:t>Entwürfe für eine Kostenartenstruktur mit Kostenbestandteilen liegt im Entwurf vor und wird </a:t>
            </a:r>
            <a:r>
              <a:rPr lang="de-DE" sz="1800" dirty="0" smtClean="0"/>
              <a:t>erörtert</a:t>
            </a:r>
          </a:p>
          <a:p>
            <a:pPr>
              <a:buNone/>
            </a:pPr>
            <a:endParaRPr lang="de-DE" sz="1800" dirty="0" smtClean="0"/>
          </a:p>
          <a:p>
            <a:pPr marL="342900" indent="-342900"/>
            <a:r>
              <a:rPr lang="de-DE" sz="1800" dirty="0" smtClean="0"/>
              <a:t>Übergangsmodelle in der Diskussion, </a:t>
            </a:r>
            <a:r>
              <a:rPr lang="de-DE" sz="1800" u="sng" dirty="0" smtClean="0"/>
              <a:t>aber</a:t>
            </a:r>
            <a:r>
              <a:rPr lang="de-DE" sz="1800" dirty="0" smtClean="0"/>
              <a:t> erst Verständigung auf neues System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68753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gray">
          <a:xfrm>
            <a:off x="0" y="1242650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 smtClean="0">
                <a:solidFill>
                  <a:schemeClr val="bg1"/>
                </a:solidFill>
              </a:rPr>
              <a:t>weitere Bestandteile des BRV</a:t>
            </a:r>
            <a:endParaRPr lang="en-US" sz="2000" b="1" kern="0" dirty="0" smtClean="0">
              <a:solidFill>
                <a:schemeClr val="bg1"/>
              </a:solidFill>
              <a:ea typeface="ＭＳ Ｐゴシック"/>
              <a:cs typeface="Arial"/>
            </a:endParaRPr>
          </a:p>
        </p:txBody>
      </p:sp>
      <p:graphicFrame>
        <p:nvGraphicFramePr>
          <p:cNvPr id="14" name="Diagramm 13"/>
          <p:cNvGraphicFramePr/>
          <p:nvPr>
            <p:extLst>
              <p:ext uri="{D42A27DB-BD31-4B8C-83A1-F6EECF244321}">
                <p14:modId xmlns:p14="http://schemas.microsoft.com/office/powerpoint/2010/main" val="2573720911"/>
              </p:ext>
            </p:extLst>
          </p:nvPr>
        </p:nvGraphicFramePr>
        <p:xfrm>
          <a:off x="393700" y="2311400"/>
          <a:ext cx="8305800" cy="4102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1237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0" y="1160959"/>
            <a:ext cx="9144000" cy="769441"/>
          </a:xfrm>
          <a:prstGeom prst="rect">
            <a:avLst/>
          </a:prstGeom>
          <a:solidFill>
            <a:srgbClr val="0093D3"/>
          </a:solidFill>
          <a:ln w="12700" algn="ctr">
            <a:solidFill>
              <a:srgbClr val="0093D3"/>
            </a:solidFill>
            <a:miter lim="800000"/>
            <a:headEnd type="none" w="lg" len="lg"/>
            <a:tailEnd type="none" w="lg" len="lg"/>
          </a:ln>
        </p:spPr>
        <p:txBody>
          <a:bodyPr lIns="457200" tIns="228600" bIns="228600" anchor="ctr">
            <a:spAutoFit/>
          </a:bodyPr>
          <a:lstStyle/>
          <a:p>
            <a:pPr algn="ctr" fontAlgn="auto">
              <a:spcBef>
                <a:spcPct val="20000"/>
              </a:spcBef>
              <a:buFontTx/>
              <a:buNone/>
              <a:defRPr/>
            </a:pPr>
            <a:r>
              <a:rPr lang="de-DE" sz="2000" kern="0" dirty="0">
                <a:solidFill>
                  <a:schemeClr val="bg1"/>
                </a:solidFill>
              </a:rPr>
              <a:t>„TIB“– Teilhabe-Instrument Berlin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54000" y="2184821"/>
            <a:ext cx="8890000" cy="4044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800" dirty="0" smtClean="0"/>
          </a:p>
          <a:p>
            <a:endParaRPr lang="de-DE" sz="1800" dirty="0"/>
          </a:p>
          <a:p>
            <a:pPr marL="285750" indent="-285750"/>
            <a:r>
              <a:rPr lang="de-DE" sz="1800" dirty="0" smtClean="0"/>
              <a:t>Entwicklung auf Basis des bestehenden Berliner Behandlungs- und Rehabilitationsplanes</a:t>
            </a:r>
          </a:p>
          <a:p>
            <a:pPr>
              <a:buNone/>
            </a:pPr>
            <a:endParaRPr lang="de-DE" sz="1800" dirty="0" smtClean="0"/>
          </a:p>
          <a:p>
            <a:pPr marL="285750" indent="-285750"/>
            <a:r>
              <a:rPr lang="de-DE" sz="1800" dirty="0" smtClean="0"/>
              <a:t>Bedarfe </a:t>
            </a:r>
            <a:r>
              <a:rPr lang="de-DE" sz="1800" dirty="0"/>
              <a:t>werden zeitbasiert ermittelt</a:t>
            </a:r>
          </a:p>
          <a:p>
            <a:endParaRPr lang="de-DE" sz="1800" dirty="0" smtClean="0"/>
          </a:p>
          <a:p>
            <a:r>
              <a:rPr lang="de-DE" sz="1800" dirty="0"/>
              <a:t> </a:t>
            </a:r>
            <a:r>
              <a:rPr lang="de-DE" sz="1800" dirty="0" smtClean="0"/>
              <a:t> </a:t>
            </a:r>
            <a:r>
              <a:rPr lang="de-DE" sz="1800" dirty="0" smtClean="0"/>
              <a:t> Anschluss an die neue Leistungsstruktur ist gewährleistet</a:t>
            </a:r>
            <a:endParaRPr lang="de-DE" sz="1800" dirty="0"/>
          </a:p>
          <a:p>
            <a:pPr marL="285750" indent="-285750"/>
            <a:endParaRPr lang="de-DE" sz="1800" dirty="0" smtClean="0"/>
          </a:p>
          <a:p>
            <a:pPr marL="285750" indent="-285750"/>
            <a:r>
              <a:rPr lang="de-DE" sz="1800" dirty="0" smtClean="0"/>
              <a:t>wird </a:t>
            </a:r>
            <a:r>
              <a:rPr lang="de-DE" sz="1800" dirty="0"/>
              <a:t>im ersten Quartal 2019 </a:t>
            </a:r>
            <a:r>
              <a:rPr lang="de-DE" sz="1800" dirty="0" smtClean="0"/>
              <a:t>pilotiert</a:t>
            </a:r>
          </a:p>
          <a:p>
            <a:pPr marL="285750" indent="-285750"/>
            <a:endParaRPr lang="de-DE" dirty="0"/>
          </a:p>
          <a:p>
            <a:pPr marL="285750" indent="-285750"/>
            <a:r>
              <a:rPr lang="de-DE" sz="1800" dirty="0" smtClean="0"/>
              <a:t>Anwendung ab 01.01.2020 geplant</a:t>
            </a:r>
            <a:endParaRPr lang="de-DE" sz="1800" dirty="0" smtClean="0"/>
          </a:p>
        </p:txBody>
      </p:sp>
    </p:spTree>
    <p:extLst>
      <p:ext uri="{BB962C8B-B14F-4D97-AF65-F5344CB8AC3E}">
        <p14:creationId xmlns:p14="http://schemas.microsoft.com/office/powerpoint/2010/main" val="352605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Vielen Dank für Ihre Aufmerksamkeit!!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de-DE" sz="8000" dirty="0" smtClean="0">
              <a:sym typeface="Wingdings" panose="05000000000000000000" pitchFamily="2" charset="2"/>
            </a:endParaRPr>
          </a:p>
          <a:p>
            <a:pPr marL="0" indent="0" algn="ctr">
              <a:buNone/>
            </a:pPr>
            <a:r>
              <a:rPr lang="de-DE" sz="8000" dirty="0" smtClean="0">
                <a:sym typeface="Wingdings" panose="05000000000000000000" pitchFamily="2" charset="2"/>
              </a:rPr>
              <a:t> </a:t>
            </a:r>
            <a:endParaRPr lang="de-DE" sz="80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DD431CE-8981-4CA0-A200-02EA34FDEB68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924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._laq2Z0SALahIZ5M_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7au6wpYEqgN_Z55J0N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._laq2Z0SALahIZ5M_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7au6wpYEqgN_Z55J0N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2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3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4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5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6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7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8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9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0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1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2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3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4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5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6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7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lank">
  <a:themeElements>
    <a:clrScheme name="Sen GUV 1">
      <a:dk1>
        <a:srgbClr val="000000"/>
      </a:dk1>
      <a:lt1>
        <a:srgbClr val="FFFFFF"/>
      </a:lt1>
      <a:dk2>
        <a:srgbClr val="0086CB"/>
      </a:dk2>
      <a:lt2>
        <a:srgbClr val="C9C9C9"/>
      </a:lt2>
      <a:accent1>
        <a:srgbClr val="0086CB"/>
      </a:accent1>
      <a:accent2>
        <a:srgbClr val="66B6E0"/>
      </a:accent2>
      <a:accent3>
        <a:srgbClr val="FFFFFF"/>
      </a:accent3>
      <a:accent4>
        <a:srgbClr val="000000"/>
      </a:accent4>
      <a:accent5>
        <a:srgbClr val="AAC3E2"/>
      </a:accent5>
      <a:accent6>
        <a:srgbClr val="5CA5CB"/>
      </a:accent6>
      <a:hlink>
        <a:srgbClr val="00699E"/>
      </a:hlink>
      <a:folHlink>
        <a:srgbClr val="97CEE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n GUV 1">
        <a:dk1>
          <a:srgbClr val="000000"/>
        </a:dk1>
        <a:lt1>
          <a:srgbClr val="FFFFFF"/>
        </a:lt1>
        <a:dk2>
          <a:srgbClr val="0086CB"/>
        </a:dk2>
        <a:lt2>
          <a:srgbClr val="C9C9C9"/>
        </a:lt2>
        <a:accent1>
          <a:srgbClr val="0086CB"/>
        </a:accent1>
        <a:accent2>
          <a:srgbClr val="66B6E0"/>
        </a:accent2>
        <a:accent3>
          <a:srgbClr val="FFFFFF"/>
        </a:accent3>
        <a:accent4>
          <a:srgbClr val="000000"/>
        </a:accent4>
        <a:accent5>
          <a:srgbClr val="AAC3E2"/>
        </a:accent5>
        <a:accent6>
          <a:srgbClr val="5CA5CB"/>
        </a:accent6>
        <a:hlink>
          <a:srgbClr val="00699E"/>
        </a:hlink>
        <a:folHlink>
          <a:srgbClr val="97CE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lank">
  <a:themeElements>
    <a:clrScheme name="Titel 10">
      <a:dk1>
        <a:srgbClr val="000000"/>
      </a:dk1>
      <a:lt1>
        <a:srgbClr val="FFFFFF"/>
      </a:lt1>
      <a:dk2>
        <a:srgbClr val="0093D3"/>
      </a:dk2>
      <a:lt2>
        <a:srgbClr val="626262"/>
      </a:lt2>
      <a:accent1>
        <a:srgbClr val="E2E2E2"/>
      </a:accent1>
      <a:accent2>
        <a:srgbClr val="B2B2B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1A1A1"/>
      </a:accent6>
      <a:hlink>
        <a:srgbClr val="017CC7"/>
      </a:hlink>
      <a:folHlink>
        <a:srgbClr val="67BEDD"/>
      </a:folHlink>
    </a:clrScheme>
    <a:fontScheme name="Titel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6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</a:objectDefaults>
  <a:extraClrSchemeLst>
    <a:extraClrScheme>
      <a:clrScheme name="Titel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3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737373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4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92ABD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5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CEF4F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6">
        <a:dk1>
          <a:srgbClr val="000000"/>
        </a:dk1>
        <a:lt1>
          <a:srgbClr val="FFFFFF"/>
        </a:lt1>
        <a:dk2>
          <a:srgbClr val="0093D3"/>
        </a:dk2>
        <a:lt2>
          <a:srgbClr val="333333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7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0628E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8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A5CF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9">
        <a:dk1>
          <a:srgbClr val="000000"/>
        </a:dk1>
        <a:lt1>
          <a:srgbClr val="FFFFFF"/>
        </a:lt1>
        <a:dk2>
          <a:srgbClr val="0093D3"/>
        </a:dk2>
        <a:lt2>
          <a:srgbClr val="4D4D4D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el 10">
        <a:dk1>
          <a:srgbClr val="000000"/>
        </a:dk1>
        <a:lt1>
          <a:srgbClr val="FFFFFF"/>
        </a:lt1>
        <a:dk2>
          <a:srgbClr val="0093D3"/>
        </a:dk2>
        <a:lt2>
          <a:srgbClr val="626262"/>
        </a:lt2>
        <a:accent1>
          <a:srgbClr val="E2E2E2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1A1A1"/>
        </a:accent6>
        <a:hlink>
          <a:srgbClr val="017CC7"/>
        </a:hlink>
        <a:folHlink>
          <a:srgbClr val="67BE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6</Words>
  <Application>Microsoft Office PowerPoint</Application>
  <PresentationFormat>Bildschirmpräsentation (4:3)</PresentationFormat>
  <Paragraphs>78</Paragraphs>
  <Slides>9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28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9</vt:i4>
      </vt:variant>
    </vt:vector>
  </HeadingPairs>
  <TitlesOfParts>
    <vt:vector size="39" baseType="lpstr"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10_blank</vt:lpstr>
      <vt:lpstr>11_blank</vt:lpstr>
      <vt:lpstr>12_blank</vt:lpstr>
      <vt:lpstr>13_blank</vt:lpstr>
      <vt:lpstr>14_blank</vt:lpstr>
      <vt:lpstr>15_blank</vt:lpstr>
      <vt:lpstr>16_blank</vt:lpstr>
      <vt:lpstr>17_blank</vt:lpstr>
      <vt:lpstr>18_blank</vt:lpstr>
      <vt:lpstr>19_blank</vt:lpstr>
      <vt:lpstr>20_blank</vt:lpstr>
      <vt:lpstr>21_blank</vt:lpstr>
      <vt:lpstr>22_blank</vt:lpstr>
      <vt:lpstr>23_blank</vt:lpstr>
      <vt:lpstr>24_blank</vt:lpstr>
      <vt:lpstr>25_blank</vt:lpstr>
      <vt:lpstr>26_blank</vt:lpstr>
      <vt:lpstr>27_blank</vt:lpstr>
      <vt:lpstr>think-cell Slid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 Vielen Dank für Ihre Aufmerksamkeit!!</vt:lpstr>
    </vt:vector>
  </TitlesOfParts>
  <Company>SenAIF/SenG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rms, Carina</dc:creator>
  <cp:lastModifiedBy>Rehse Dr., Catharina</cp:lastModifiedBy>
  <cp:revision>470</cp:revision>
  <cp:lastPrinted>2018-11-30T10:44:55Z</cp:lastPrinted>
  <dcterms:created xsi:type="dcterms:W3CDTF">2017-06-28T06:10:32Z</dcterms:created>
  <dcterms:modified xsi:type="dcterms:W3CDTF">2018-12-04T15:29:10Z</dcterms:modified>
</cp:coreProperties>
</file>